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tiff" ContentType="image/tiff"/>
  <Override PartName="/ppt/presentation.xml" ContentType="application/vnd.ms-powerpoint.presentation.macroEnabled.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7" r:id="rId4"/>
  </p:sldMasterIdLst>
  <p:notesMasterIdLst>
    <p:notesMasterId r:id="rId18"/>
  </p:notesMasterIdLst>
  <p:sldIdLst>
    <p:sldId id="266" r:id="rId5"/>
    <p:sldId id="335" r:id="rId6"/>
    <p:sldId id="336" r:id="rId7"/>
    <p:sldId id="341" r:id="rId8"/>
    <p:sldId id="340" r:id="rId9"/>
    <p:sldId id="302" r:id="rId10"/>
    <p:sldId id="303" r:id="rId11"/>
    <p:sldId id="339" r:id="rId12"/>
    <p:sldId id="337" r:id="rId13"/>
    <p:sldId id="338" r:id="rId14"/>
    <p:sldId id="342" r:id="rId15"/>
    <p:sldId id="343" r:id="rId16"/>
    <p:sldId id="344" r:id="rId17"/>
  </p:sldIdLst>
  <p:sldSz cx="12192000" cy="6858000"/>
  <p:notesSz cx="6805613" cy="9939338"/>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7DEE8"/>
    <a:srgbClr val="00ABC3"/>
    <a:srgbClr val="425968"/>
    <a:srgbClr val="4BACC6"/>
    <a:srgbClr val="206DA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527" autoAdjust="0"/>
    <p:restoredTop sz="94660"/>
  </p:normalViewPr>
  <p:slideViewPr>
    <p:cSldViewPr snapToGrid="0">
      <p:cViewPr varScale="1">
        <p:scale>
          <a:sx n="88" d="100"/>
          <a:sy n="88" d="100"/>
        </p:scale>
        <p:origin x="610" y="62"/>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8693"/>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54939" y="0"/>
            <a:ext cx="2949099" cy="498693"/>
          </a:xfrm>
          <a:prstGeom prst="rect">
            <a:avLst/>
          </a:prstGeom>
        </p:spPr>
        <p:txBody>
          <a:bodyPr vert="horz" lIns="91440" tIns="45720" rIns="91440" bIns="45720" rtlCol="0"/>
          <a:lstStyle>
            <a:lvl1pPr algn="r">
              <a:defRPr sz="1200"/>
            </a:lvl1pPr>
          </a:lstStyle>
          <a:p>
            <a:fld id="{D1015508-23E1-46E3-89D6-7DBA4A5F59DA}" type="datetimeFigureOut">
              <a:rPr lang="en-AU" smtClean="0"/>
              <a:t>22/06/2018</a:t>
            </a:fld>
            <a:endParaRPr lang="en-AU"/>
          </a:p>
        </p:txBody>
      </p:sp>
      <p:sp>
        <p:nvSpPr>
          <p:cNvPr id="4" name="Slide Image Placeholder 3"/>
          <p:cNvSpPr>
            <a:spLocks noGrp="1" noRot="1" noChangeAspect="1"/>
          </p:cNvSpPr>
          <p:nvPr>
            <p:ph type="sldImg" idx="2"/>
          </p:nvPr>
        </p:nvSpPr>
        <p:spPr>
          <a:xfrm>
            <a:off x="422275" y="1243013"/>
            <a:ext cx="5961063" cy="3354387"/>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0562" y="4783307"/>
            <a:ext cx="5444490" cy="3913614"/>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6" name="Footer Placeholder 5"/>
          <p:cNvSpPr>
            <a:spLocks noGrp="1"/>
          </p:cNvSpPr>
          <p:nvPr>
            <p:ph type="ftr" sz="quarter" idx="4"/>
          </p:nvPr>
        </p:nvSpPr>
        <p:spPr>
          <a:xfrm>
            <a:off x="0" y="9440647"/>
            <a:ext cx="2949099" cy="498692"/>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54939" y="9440647"/>
            <a:ext cx="2949099" cy="498692"/>
          </a:xfrm>
          <a:prstGeom prst="rect">
            <a:avLst/>
          </a:prstGeom>
        </p:spPr>
        <p:txBody>
          <a:bodyPr vert="horz" lIns="91440" tIns="45720" rIns="91440" bIns="45720" rtlCol="0" anchor="b"/>
          <a:lstStyle>
            <a:lvl1pPr algn="r">
              <a:defRPr sz="1200"/>
            </a:lvl1pPr>
          </a:lstStyle>
          <a:p>
            <a:fld id="{7AC876B4-DCE3-426E-AD84-D790712FC9A3}" type="slidenum">
              <a:rPr lang="en-AU" smtClean="0"/>
              <a:t>‹#›</a:t>
            </a:fld>
            <a:endParaRPr lang="en-AU"/>
          </a:p>
        </p:txBody>
      </p:sp>
    </p:spTree>
    <p:extLst>
      <p:ext uri="{BB962C8B-B14F-4D97-AF65-F5344CB8AC3E}">
        <p14:creationId xmlns:p14="http://schemas.microsoft.com/office/powerpoint/2010/main" val="41219783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69074C1E-7C7D-4DBA-93B3-8D8731D2F110}" type="slidenum">
              <a:rPr lang="en-AU" smtClean="0"/>
              <a:t>4</a:t>
            </a:fld>
            <a:endParaRPr lang="en-AU"/>
          </a:p>
        </p:txBody>
      </p:sp>
    </p:spTree>
    <p:extLst>
      <p:ext uri="{BB962C8B-B14F-4D97-AF65-F5344CB8AC3E}">
        <p14:creationId xmlns:p14="http://schemas.microsoft.com/office/powerpoint/2010/main" val="23635250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69074C1E-7C7D-4DBA-93B3-8D8731D2F110}" type="slidenum">
              <a:rPr lang="en-AU" smtClean="0"/>
              <a:t>5</a:t>
            </a:fld>
            <a:endParaRPr lang="en-AU"/>
          </a:p>
        </p:txBody>
      </p:sp>
    </p:spTree>
    <p:extLst>
      <p:ext uri="{BB962C8B-B14F-4D97-AF65-F5344CB8AC3E}">
        <p14:creationId xmlns:p14="http://schemas.microsoft.com/office/powerpoint/2010/main" val="18570127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16934"/>
            <a:ext cx="12192000" cy="6808839"/>
          </a:xfrm>
          <a:prstGeom prst="rect">
            <a:avLst/>
          </a:prstGeom>
        </p:spPr>
      </p:pic>
      <p:cxnSp>
        <p:nvCxnSpPr>
          <p:cNvPr id="7" name="Straight Connector 6"/>
          <p:cNvCxnSpPr/>
          <p:nvPr userDrawn="1"/>
        </p:nvCxnSpPr>
        <p:spPr>
          <a:xfrm>
            <a:off x="720000" y="3524251"/>
            <a:ext cx="582294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Picture 14" descr="Waratah-NSWGovt.reverse.20mm.png"/>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10896601" y="5467351"/>
            <a:ext cx="869951" cy="9376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9" name="Footer Placeholder 39"/>
          <p:cNvSpPr txBox="1">
            <a:spLocks/>
          </p:cNvSpPr>
          <p:nvPr userDrawn="1"/>
        </p:nvSpPr>
        <p:spPr>
          <a:xfrm>
            <a:off x="480000" y="336000"/>
            <a:ext cx="3649133" cy="364067"/>
          </a:xfrm>
          <a:prstGeom prst="rect">
            <a:avLst/>
          </a:prstGeom>
        </p:spPr>
        <p:txBody>
          <a:bodyPr lIns="0"/>
          <a:lstStyle>
            <a:defPPr>
              <a:defRPr lang="en-US"/>
            </a:defPPr>
            <a:lvl1pPr algn="l" rtl="0" fontAlgn="auto">
              <a:spcBef>
                <a:spcPts val="0"/>
              </a:spcBef>
              <a:spcAft>
                <a:spcPts val="0"/>
              </a:spcAft>
              <a:defRPr sz="1100" b="0" i="0" kern="1200" dirty="0" err="1" smtClean="0">
                <a:solidFill>
                  <a:schemeClr val="bg1"/>
                </a:solidFill>
                <a:latin typeface="Montserrat Medium"/>
                <a:ea typeface="+mn-ea"/>
                <a:cs typeface="Montserrat Medium"/>
              </a:defRPr>
            </a:lvl1pPr>
            <a:lvl2pPr marL="4572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5pPr>
            <a:lvl6pPr marL="2286000" algn="l" defTabSz="457200" rtl="0" eaLnBrk="1" latinLnBrk="0" hangingPunct="1">
              <a:defRPr kern="1200">
                <a:solidFill>
                  <a:schemeClr val="tx1"/>
                </a:solidFill>
                <a:latin typeface="Montserrat Light" charset="0"/>
                <a:ea typeface="ＭＳ Ｐゴシック" charset="0"/>
                <a:cs typeface="ＭＳ Ｐゴシック" charset="0"/>
              </a:defRPr>
            </a:lvl6pPr>
            <a:lvl7pPr marL="2743200" algn="l" defTabSz="457200" rtl="0" eaLnBrk="1" latinLnBrk="0" hangingPunct="1">
              <a:defRPr kern="1200">
                <a:solidFill>
                  <a:schemeClr val="tx1"/>
                </a:solidFill>
                <a:latin typeface="Montserrat Light" charset="0"/>
                <a:ea typeface="ＭＳ Ｐゴシック" charset="0"/>
                <a:cs typeface="ＭＳ Ｐゴシック" charset="0"/>
              </a:defRPr>
            </a:lvl7pPr>
            <a:lvl8pPr marL="3200400" algn="l" defTabSz="457200" rtl="0" eaLnBrk="1" latinLnBrk="0" hangingPunct="1">
              <a:defRPr kern="1200">
                <a:solidFill>
                  <a:schemeClr val="tx1"/>
                </a:solidFill>
                <a:latin typeface="Montserrat Light" charset="0"/>
                <a:ea typeface="ＭＳ Ｐゴシック" charset="0"/>
                <a:cs typeface="ＭＳ Ｐゴシック" charset="0"/>
              </a:defRPr>
            </a:lvl8pPr>
            <a:lvl9pPr marL="3657600" algn="l" defTabSz="457200" rtl="0" eaLnBrk="1" latinLnBrk="0" hangingPunct="1">
              <a:defRPr kern="1200">
                <a:solidFill>
                  <a:schemeClr val="tx1"/>
                </a:solidFill>
                <a:latin typeface="Montserrat Light" charset="0"/>
                <a:ea typeface="ＭＳ Ｐゴシック" charset="0"/>
                <a:cs typeface="ＭＳ Ｐゴシック" charset="0"/>
              </a:defRPr>
            </a:lvl9pPr>
          </a:lstStyle>
          <a:p>
            <a:pPr>
              <a:defRPr/>
            </a:pPr>
            <a:r>
              <a:rPr lang="en-AU" sz="1467" b="1" i="0" spc="0" dirty="0">
                <a:latin typeface="Arial" charset="0"/>
                <a:ea typeface="Arial" charset="0"/>
                <a:cs typeface="Arial" charset="0"/>
              </a:rPr>
              <a:t>NSW Department of Education</a:t>
            </a:r>
          </a:p>
        </p:txBody>
      </p:sp>
      <p:sp>
        <p:nvSpPr>
          <p:cNvPr id="2" name="Title 1"/>
          <p:cNvSpPr>
            <a:spLocks noGrp="1"/>
          </p:cNvSpPr>
          <p:nvPr>
            <p:ph type="ctrTitle" hasCustomPrompt="1"/>
          </p:nvPr>
        </p:nvSpPr>
        <p:spPr>
          <a:xfrm>
            <a:off x="720000" y="2084850"/>
            <a:ext cx="5822880" cy="1353145"/>
          </a:xfrm>
          <a:prstGeom prst="rect">
            <a:avLst/>
          </a:prstGeom>
        </p:spPr>
        <p:txBody>
          <a:bodyPr/>
          <a:lstStyle>
            <a:lvl1pPr>
              <a:defRPr sz="3733" b="1" i="0" cap="none" baseline="0">
                <a:solidFill>
                  <a:schemeClr val="bg1"/>
                </a:solidFill>
                <a:latin typeface="Arial" charset="0"/>
                <a:ea typeface="Arial" charset="0"/>
                <a:cs typeface="Arial" charset="0"/>
              </a:defRPr>
            </a:lvl1pPr>
          </a:lstStyle>
          <a:p>
            <a:r>
              <a:rPr lang="en-US" dirty="0"/>
              <a:t>Education for a </a:t>
            </a:r>
            <a:br>
              <a:rPr lang="en-US" dirty="0"/>
            </a:br>
            <a:r>
              <a:rPr lang="en-US" dirty="0"/>
              <a:t>changing world</a:t>
            </a:r>
            <a:endParaRPr lang="en-AU" dirty="0"/>
          </a:p>
        </p:txBody>
      </p:sp>
      <p:sp>
        <p:nvSpPr>
          <p:cNvPr id="18" name="Text Placeholder 17"/>
          <p:cNvSpPr>
            <a:spLocks noGrp="1"/>
          </p:cNvSpPr>
          <p:nvPr>
            <p:ph type="body" sz="quarter" idx="12" hasCustomPrompt="1"/>
          </p:nvPr>
        </p:nvSpPr>
        <p:spPr>
          <a:xfrm>
            <a:off x="720001" y="3620856"/>
            <a:ext cx="5827183" cy="1248304"/>
          </a:xfrm>
          <a:prstGeom prst="rect">
            <a:avLst/>
          </a:prstGeom>
        </p:spPr>
        <p:txBody>
          <a:bodyPr/>
          <a:lstStyle>
            <a:lvl1pPr marL="0" indent="0">
              <a:lnSpc>
                <a:spcPts val="2240"/>
              </a:lnSpc>
              <a:spcBef>
                <a:spcPts val="400"/>
              </a:spcBef>
              <a:defRPr sz="1867" b="1" i="0">
                <a:solidFill>
                  <a:schemeClr val="bg1"/>
                </a:solidFill>
                <a:latin typeface="Arial" charset="0"/>
                <a:ea typeface="Arial" charset="0"/>
                <a:cs typeface="Arial" charset="0"/>
              </a:defRPr>
            </a:lvl1pPr>
            <a:lvl3pPr marL="0" indent="0">
              <a:spcBef>
                <a:spcPts val="400"/>
              </a:spcBef>
              <a:buFontTx/>
              <a:buNone/>
              <a:defRPr sz="1467">
                <a:solidFill>
                  <a:schemeClr val="bg1"/>
                </a:solidFill>
                <a:latin typeface="Arial" charset="0"/>
                <a:ea typeface="Arial" charset="0"/>
                <a:cs typeface="Arial" charset="0"/>
              </a:defRPr>
            </a:lvl3pPr>
          </a:lstStyle>
          <a:p>
            <a:pPr lvl="0"/>
            <a:r>
              <a:rPr lang="en-AU" dirty="0"/>
              <a:t>Presented by Mark Scott</a:t>
            </a:r>
          </a:p>
          <a:p>
            <a:pPr lvl="2"/>
            <a:r>
              <a:rPr lang="en-AU" dirty="0"/>
              <a:t>Secretary</a:t>
            </a:r>
          </a:p>
        </p:txBody>
      </p:sp>
      <p:sp>
        <p:nvSpPr>
          <p:cNvPr id="10" name="Footer Placeholder 39"/>
          <p:cNvSpPr>
            <a:spLocks noGrp="1"/>
          </p:cNvSpPr>
          <p:nvPr>
            <p:ph type="ftr" sz="quarter" idx="13"/>
          </p:nvPr>
        </p:nvSpPr>
        <p:spPr>
          <a:xfrm>
            <a:off x="480000" y="6136217"/>
            <a:ext cx="3649133" cy="364067"/>
          </a:xfrm>
          <a:prstGeom prst="rect">
            <a:avLst/>
          </a:prstGeom>
        </p:spPr>
        <p:txBody>
          <a:bodyPr/>
          <a:lstStyle>
            <a:lvl1pPr>
              <a:defRPr sz="1467" b="1" i="0" dirty="0" err="1">
                <a:solidFill>
                  <a:schemeClr val="bg1"/>
                </a:solidFill>
                <a:latin typeface="Arial" charset="0"/>
                <a:ea typeface="Arial" charset="0"/>
                <a:cs typeface="Arial" charset="0"/>
              </a:defRPr>
            </a:lvl1pPr>
          </a:lstStyle>
          <a:p>
            <a:pPr>
              <a:defRPr/>
            </a:pPr>
            <a:r>
              <a:rPr lang="en-AU" dirty="0"/>
              <a:t>education.nsw.gov.au</a:t>
            </a:r>
          </a:p>
        </p:txBody>
      </p:sp>
    </p:spTree>
    <p:extLst>
      <p:ext uri="{BB962C8B-B14F-4D97-AF65-F5344CB8AC3E}">
        <p14:creationId xmlns:p14="http://schemas.microsoft.com/office/powerpoint/2010/main" val="1884419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28055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5609"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Arial" panose="020B0604020202020204" pitchFamily="34" charset="0"/>
                <a:sym typeface="Arial" panose="020B0604020202020204" pitchFamily="34" charset="0"/>
              </a:defRPr>
            </a:lvl1pPr>
          </a:lstStyle>
          <a:p>
            <a:endParaRPr lang="en-US"/>
          </a:p>
        </p:txBody>
      </p:sp>
      <p:sp>
        <p:nvSpPr>
          <p:cNvPr id="7"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Arial" panose="020B0604020202020204" pitchFamily="34" charset="0"/>
                <a:cs typeface="Arial" panose="020B0604020202020204" pitchFamily="34" charset="0"/>
                <a:sym typeface="Arial" panose="020B0604020202020204" pitchFamily="34" charset="0"/>
              </a:rPr>
              <a:t>Copyright © 2018 by The Boston Consulting Group, Inc. All rights reserved.</a:t>
            </a:r>
          </a:p>
        </p:txBody>
      </p:sp>
      <p:sp>
        <p:nvSpPr>
          <p:cNvPr id="8" name="Title 7"/>
          <p:cNvSpPr>
            <a:spLocks noGrp="1"/>
          </p:cNvSpPr>
          <p:nvPr>
            <p:ph type="title" hasCustomPrompt="1"/>
          </p:nvPr>
        </p:nvSpPr>
        <p:spPr>
          <a:xfrm>
            <a:off x="775384" y="622801"/>
            <a:ext cx="10642708" cy="332399"/>
          </a:xfrm>
        </p:spPr>
        <p:txBody>
          <a:bodyPr/>
          <a:lstStyle>
            <a:lvl1pPr>
              <a:defRPr>
                <a:solidFill>
                  <a:srgbClr val="2E3558"/>
                </a:solidFill>
                <a:latin typeface="Arial" panose="020B0604020202020204" pitchFamily="34" charset="0"/>
                <a:sym typeface="Arial" panose="020B0604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smtClean="0">
                <a:solidFill>
                  <a:schemeClr val="bg1">
                    <a:lumMod val="50000"/>
                  </a:schemeClr>
                </a:solidFill>
                <a:latin typeface="Arial" panose="020B0604020202020204" pitchFamily="34" charset="0"/>
                <a:cs typeface="Arial" panose="020B0604020202020204" pitchFamily="34" charset="0"/>
                <a:sym typeface="Arial" panose="020B0604020202020204" pitchFamily="34" charset="0"/>
              </a:rPr>
              <a:t>MinSec - draft slide pack_20062018.pptx</a:t>
            </a:r>
            <a:endParaRPr lang="en-US" sz="700" dirty="0">
              <a:solidFill>
                <a:schemeClr val="bg1">
                  <a:lumMod val="50000"/>
                </a:schemeClr>
              </a:solidFill>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1759097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dark blue">
    <p:spTree>
      <p:nvGrpSpPr>
        <p:cNvPr id="1" name=""/>
        <p:cNvGrpSpPr/>
        <p:nvPr/>
      </p:nvGrpSpPr>
      <p:grpSpPr>
        <a:xfrm>
          <a:off x="0" y="0"/>
          <a:ext cx="0" cy="0"/>
          <a:chOff x="0" y="0"/>
          <a:chExt cx="0" cy="0"/>
        </a:xfrm>
      </p:grpSpPr>
      <p:sp>
        <p:nvSpPr>
          <p:cNvPr id="11" name="Rectangle 10"/>
          <p:cNvSpPr/>
          <p:nvPr userDrawn="1"/>
        </p:nvSpPr>
        <p:spPr>
          <a:xfrm>
            <a:off x="0" y="0"/>
            <a:ext cx="12192000" cy="6858000"/>
          </a:xfrm>
          <a:prstGeom prst="rect">
            <a:avLst/>
          </a:prstGeom>
          <a:solidFill>
            <a:srgbClr val="191A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00" dirty="0"/>
          </a:p>
        </p:txBody>
      </p:sp>
      <p:sp>
        <p:nvSpPr>
          <p:cNvPr id="2" name="Title 1"/>
          <p:cNvSpPr>
            <a:spLocks noGrp="1"/>
          </p:cNvSpPr>
          <p:nvPr>
            <p:ph type="ctrTitle" hasCustomPrompt="1"/>
          </p:nvPr>
        </p:nvSpPr>
        <p:spPr>
          <a:xfrm>
            <a:off x="3184560" y="1805815"/>
            <a:ext cx="5822880" cy="1632181"/>
          </a:xfrm>
          <a:prstGeom prst="rect">
            <a:avLst/>
          </a:prstGeom>
        </p:spPr>
        <p:txBody>
          <a:bodyPr/>
          <a:lstStyle>
            <a:lvl1pPr algn="ctr">
              <a:defRPr sz="3733" b="1" i="0" cap="none" baseline="0">
                <a:solidFill>
                  <a:schemeClr val="bg1"/>
                </a:solidFill>
                <a:latin typeface="Arial" charset="0"/>
                <a:ea typeface="Arial" charset="0"/>
                <a:cs typeface="Arial" charset="0"/>
              </a:defRPr>
            </a:lvl1pPr>
          </a:lstStyle>
          <a:p>
            <a:r>
              <a:rPr lang="en-US" dirty="0"/>
              <a:t>Section break</a:t>
            </a:r>
            <a:endParaRPr lang="en-AU" dirty="0"/>
          </a:p>
        </p:txBody>
      </p:sp>
      <p:sp>
        <p:nvSpPr>
          <p:cNvPr id="10" name="Footer Placeholder 39"/>
          <p:cNvSpPr>
            <a:spLocks noGrp="1"/>
          </p:cNvSpPr>
          <p:nvPr>
            <p:ph type="ftr" sz="quarter" idx="13"/>
          </p:nvPr>
        </p:nvSpPr>
        <p:spPr>
          <a:xfrm>
            <a:off x="430643" y="6329296"/>
            <a:ext cx="3649133" cy="364067"/>
          </a:xfrm>
          <a:prstGeom prst="rect">
            <a:avLst/>
          </a:prstGeom>
        </p:spPr>
        <p:txBody>
          <a:bodyPr/>
          <a:lstStyle>
            <a:lvl1pPr>
              <a:defRPr sz="1333" b="0" i="0" dirty="0" err="1">
                <a:solidFill>
                  <a:schemeClr val="bg1"/>
                </a:solidFill>
                <a:latin typeface="Arial" charset="0"/>
                <a:ea typeface="Arial" charset="0"/>
                <a:cs typeface="Arial" charset="0"/>
              </a:defRPr>
            </a:lvl1pPr>
          </a:lstStyle>
          <a:p>
            <a:pPr>
              <a:defRPr/>
            </a:pPr>
            <a:r>
              <a:rPr lang="en-AU" dirty="0"/>
              <a:t>Presentation Name</a:t>
            </a:r>
          </a:p>
        </p:txBody>
      </p:sp>
      <p:sp>
        <p:nvSpPr>
          <p:cNvPr id="12" name="Footer Placeholder 39"/>
          <p:cNvSpPr txBox="1">
            <a:spLocks/>
          </p:cNvSpPr>
          <p:nvPr userDrawn="1"/>
        </p:nvSpPr>
        <p:spPr>
          <a:xfrm>
            <a:off x="8688288" y="6329296"/>
            <a:ext cx="3168352" cy="364067"/>
          </a:xfrm>
          <a:prstGeom prst="rect">
            <a:avLst/>
          </a:prstGeom>
        </p:spPr>
        <p:txBody>
          <a:bodyPr lIns="0" anchor="b"/>
          <a:lstStyle>
            <a:defPPr>
              <a:defRPr lang="en-US"/>
            </a:defPPr>
            <a:lvl1pPr algn="l" rtl="0" fontAlgn="auto">
              <a:spcBef>
                <a:spcPts val="0"/>
              </a:spcBef>
              <a:spcAft>
                <a:spcPts val="0"/>
              </a:spcAft>
              <a:defRPr sz="1000" b="0" i="0" kern="1200" dirty="0" err="1">
                <a:solidFill>
                  <a:schemeClr val="bg1"/>
                </a:solidFill>
                <a:latin typeface="Arial" charset="0"/>
                <a:ea typeface="Arial" charset="0"/>
                <a:cs typeface="Arial" charset="0"/>
              </a:defRPr>
            </a:lvl1pPr>
            <a:lvl2pPr marL="4572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5pPr>
            <a:lvl6pPr marL="2286000" algn="l" defTabSz="457200" rtl="0" eaLnBrk="1" latinLnBrk="0" hangingPunct="1">
              <a:defRPr kern="1200">
                <a:solidFill>
                  <a:schemeClr val="tx1"/>
                </a:solidFill>
                <a:latin typeface="Montserrat Light" charset="0"/>
                <a:ea typeface="ＭＳ Ｐゴシック" charset="0"/>
                <a:cs typeface="ＭＳ Ｐゴシック" charset="0"/>
              </a:defRPr>
            </a:lvl6pPr>
            <a:lvl7pPr marL="2743200" algn="l" defTabSz="457200" rtl="0" eaLnBrk="1" latinLnBrk="0" hangingPunct="1">
              <a:defRPr kern="1200">
                <a:solidFill>
                  <a:schemeClr val="tx1"/>
                </a:solidFill>
                <a:latin typeface="Montserrat Light" charset="0"/>
                <a:ea typeface="ＭＳ Ｐゴシック" charset="0"/>
                <a:cs typeface="ＭＳ Ｐゴシック" charset="0"/>
              </a:defRPr>
            </a:lvl7pPr>
            <a:lvl8pPr marL="3200400" algn="l" defTabSz="457200" rtl="0" eaLnBrk="1" latinLnBrk="0" hangingPunct="1">
              <a:defRPr kern="1200">
                <a:solidFill>
                  <a:schemeClr val="tx1"/>
                </a:solidFill>
                <a:latin typeface="Montserrat Light" charset="0"/>
                <a:ea typeface="ＭＳ Ｐゴシック" charset="0"/>
                <a:cs typeface="ＭＳ Ｐゴシック" charset="0"/>
              </a:defRPr>
            </a:lvl8pPr>
            <a:lvl9pPr marL="3657600" algn="l" defTabSz="457200" rtl="0" eaLnBrk="1" latinLnBrk="0" hangingPunct="1">
              <a:defRPr kern="1200">
                <a:solidFill>
                  <a:schemeClr val="tx1"/>
                </a:solidFill>
                <a:latin typeface="Montserrat Light" charset="0"/>
                <a:ea typeface="ＭＳ Ｐゴシック" charset="0"/>
                <a:cs typeface="ＭＳ Ｐゴシック" charset="0"/>
              </a:defRPr>
            </a:lvl9pPr>
          </a:lstStyle>
          <a:p>
            <a:pPr algn="r">
              <a:defRPr/>
            </a:pPr>
            <a:r>
              <a:rPr lang="en-AU" sz="1333" dirty="0"/>
              <a:t>2</a:t>
            </a:r>
          </a:p>
        </p:txBody>
      </p:sp>
      <p:cxnSp>
        <p:nvCxnSpPr>
          <p:cNvPr id="4" name="Straight Connector 3"/>
          <p:cNvCxnSpPr/>
          <p:nvPr userDrawn="1"/>
        </p:nvCxnSpPr>
        <p:spPr>
          <a:xfrm>
            <a:off x="480000" y="6309320"/>
            <a:ext cx="112806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62813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12" name="Rectangle 11"/>
          <p:cNvSpPr/>
          <p:nvPr userDrawn="1"/>
        </p:nvSpPr>
        <p:spPr>
          <a:xfrm>
            <a:off x="-48682" y="0"/>
            <a:ext cx="12208548" cy="6858000"/>
          </a:xfrm>
          <a:prstGeom prst="rect">
            <a:avLst/>
          </a:prstGeom>
          <a:solidFill>
            <a:srgbClr val="244C8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00" dirty="0"/>
          </a:p>
        </p:txBody>
      </p:sp>
      <p:sp>
        <p:nvSpPr>
          <p:cNvPr id="14" name="Title 1"/>
          <p:cNvSpPr>
            <a:spLocks noGrp="1"/>
          </p:cNvSpPr>
          <p:nvPr>
            <p:ph type="ctrTitle" hasCustomPrompt="1"/>
          </p:nvPr>
        </p:nvSpPr>
        <p:spPr>
          <a:xfrm>
            <a:off x="2304567" y="1783770"/>
            <a:ext cx="7615963" cy="1632181"/>
          </a:xfrm>
          <a:prstGeom prst="rect">
            <a:avLst/>
          </a:prstGeom>
        </p:spPr>
        <p:txBody>
          <a:bodyPr/>
          <a:lstStyle>
            <a:lvl1pPr algn="ctr">
              <a:defRPr sz="5333" b="0" i="0" cap="none" baseline="0">
                <a:solidFill>
                  <a:schemeClr val="bg1"/>
                </a:solidFill>
                <a:latin typeface="Arial" charset="0"/>
                <a:ea typeface="Arial" charset="0"/>
                <a:cs typeface="Arial" charset="0"/>
              </a:defRPr>
            </a:lvl1pPr>
          </a:lstStyle>
          <a:p>
            <a:r>
              <a:rPr lang="en-US" dirty="0"/>
              <a:t>“Leadership is a series of </a:t>
            </a:r>
            <a:r>
              <a:rPr lang="en-US" dirty="0" err="1"/>
              <a:t>behaviours</a:t>
            </a:r>
            <a:r>
              <a:rPr lang="en-US" dirty="0"/>
              <a:t>, rather than a role for heroes”.</a:t>
            </a:r>
            <a:endParaRPr lang="en-AU" dirty="0"/>
          </a:p>
        </p:txBody>
      </p:sp>
      <p:sp>
        <p:nvSpPr>
          <p:cNvPr id="3" name="TextBox 2"/>
          <p:cNvSpPr txBox="1"/>
          <p:nvPr userDrawn="1"/>
        </p:nvSpPr>
        <p:spPr>
          <a:xfrm>
            <a:off x="4367808" y="4389107"/>
            <a:ext cx="3744416" cy="461665"/>
          </a:xfrm>
          <a:prstGeom prst="rect">
            <a:avLst/>
          </a:prstGeom>
          <a:noFill/>
        </p:spPr>
        <p:txBody>
          <a:bodyPr wrap="square" rtlCol="0">
            <a:spAutoFit/>
          </a:bodyPr>
          <a:lstStyle/>
          <a:p>
            <a:pPr algn="ctr"/>
            <a:r>
              <a:rPr lang="en-US" sz="2400" b="1" i="0" dirty="0">
                <a:solidFill>
                  <a:schemeClr val="bg1"/>
                </a:solidFill>
                <a:latin typeface="Arial" charset="0"/>
                <a:ea typeface="Arial" charset="0"/>
                <a:cs typeface="Arial" charset="0"/>
              </a:rPr>
              <a:t>Margaret Wheatley</a:t>
            </a:r>
          </a:p>
        </p:txBody>
      </p:sp>
      <p:grpSp>
        <p:nvGrpSpPr>
          <p:cNvPr id="17" name="Group"/>
          <p:cNvGrpSpPr/>
          <p:nvPr userDrawn="1"/>
        </p:nvGrpSpPr>
        <p:grpSpPr>
          <a:xfrm>
            <a:off x="1010059" y="17074438"/>
            <a:ext cx="30141047" cy="833219"/>
            <a:chOff x="0" y="169328"/>
            <a:chExt cx="22605783" cy="624914"/>
          </a:xfrm>
        </p:grpSpPr>
        <p:sp>
          <p:nvSpPr>
            <p:cNvPr id="19" name="Line"/>
            <p:cNvSpPr/>
            <p:nvPr/>
          </p:nvSpPr>
          <p:spPr>
            <a:xfrm>
              <a:off x="80655" y="169328"/>
              <a:ext cx="22499888" cy="0"/>
            </a:xfrm>
            <a:prstGeom prst="line">
              <a:avLst/>
            </a:prstGeom>
            <a:noFill/>
            <a:ln w="25400" cap="flat">
              <a:solidFill>
                <a:srgbClr val="FFFFFF"/>
              </a:solidFill>
              <a:prstDash val="solid"/>
              <a:miter lim="400000"/>
            </a:ln>
            <a:effectLst/>
          </p:spPr>
          <p:txBody>
            <a:bodyPr wrap="square" lIns="50800" tIns="50800" rIns="50800" bIns="50800" numCol="1" anchor="ctr">
              <a:noAutofit/>
            </a:bodyPr>
            <a:lstStyle/>
            <a:p>
              <a:pPr algn="l" defTabSz="609585">
                <a:defRPr sz="1200">
                  <a:latin typeface="Helvetica"/>
                  <a:ea typeface="Helvetica"/>
                  <a:cs typeface="Helvetica"/>
                  <a:sym typeface="Helvetica"/>
                </a:defRPr>
              </a:pPr>
              <a:endParaRPr sz="1600" dirty="0"/>
            </a:p>
          </p:txBody>
        </p:sp>
        <p:sp>
          <p:nvSpPr>
            <p:cNvPr id="20" name="© NSW Department of Education | Educational Leadership Induction"/>
            <p:cNvSpPr txBox="1"/>
            <p:nvPr/>
          </p:nvSpPr>
          <p:spPr>
            <a:xfrm>
              <a:off x="0" y="424958"/>
              <a:ext cx="10644963" cy="36928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50800" tIns="50800" rIns="50800" bIns="50800" numCol="1" anchor="ctr">
              <a:spAutoFit/>
            </a:bodyPr>
            <a:lstStyle/>
            <a:p>
              <a:pPr algn="l" defTabSz="609585">
                <a:defRPr sz="1900">
                  <a:solidFill>
                    <a:srgbClr val="FFFFFF"/>
                  </a:solidFill>
                  <a:latin typeface="Montserrat Bold"/>
                  <a:ea typeface="Montserrat Bold"/>
                  <a:cs typeface="Montserrat Bold"/>
                  <a:sym typeface="Montserrat Bold"/>
                </a:defRPr>
              </a:pPr>
              <a:r>
                <a:rPr sz="2533" dirty="0">
                  <a:latin typeface="Montserrat SemiBold"/>
                  <a:ea typeface="Montserrat SemiBold"/>
                  <a:cs typeface="Montserrat SemiBold"/>
                  <a:sym typeface="Montserrat SemiBold"/>
                </a:rPr>
                <a:t>© NSW Department of Education</a:t>
              </a:r>
              <a:r>
                <a:rPr sz="2533" dirty="0"/>
                <a:t> </a:t>
              </a:r>
            </a:p>
          </p:txBody>
        </p:sp>
        <p:sp>
          <p:nvSpPr>
            <p:cNvPr id="21" name="November 2017"/>
            <p:cNvSpPr txBox="1"/>
            <p:nvPr/>
          </p:nvSpPr>
          <p:spPr>
            <a:xfrm>
              <a:off x="19850100" y="424958"/>
              <a:ext cx="2095283" cy="36928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50800" tIns="50800" rIns="50800" bIns="50800" numCol="1" anchor="ctr">
              <a:spAutoFit/>
            </a:bodyPr>
            <a:lstStyle>
              <a:lvl1pPr algn="r" defTabSz="457200">
                <a:defRPr sz="1900">
                  <a:solidFill>
                    <a:srgbClr val="FFFFFF"/>
                  </a:solidFill>
                  <a:latin typeface="Montserrat Bold"/>
                  <a:ea typeface="Montserrat Bold"/>
                  <a:cs typeface="Montserrat Bold"/>
                  <a:sym typeface="Montserrat Bold"/>
                </a:defRPr>
              </a:lvl1pPr>
            </a:lstStyle>
            <a:p>
              <a:r>
                <a:rPr sz="2533" dirty="0"/>
                <a:t>November 2017</a:t>
              </a:r>
            </a:p>
          </p:txBody>
        </p:sp>
        <p:sp>
          <p:nvSpPr>
            <p:cNvPr id="22" name="2"/>
            <p:cNvSpPr txBox="1"/>
            <p:nvPr/>
          </p:nvSpPr>
          <p:spPr>
            <a:xfrm>
              <a:off x="22157878" y="424958"/>
              <a:ext cx="447905" cy="36928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50800" tIns="50800" rIns="50800" bIns="50800" numCol="1" anchor="ctr">
              <a:spAutoFit/>
            </a:bodyPr>
            <a:lstStyle>
              <a:lvl1pPr algn="r" defTabSz="457200">
                <a:defRPr sz="1900">
                  <a:solidFill>
                    <a:srgbClr val="FFFFFF"/>
                  </a:solidFill>
                  <a:latin typeface="Montserrat SemiBold"/>
                  <a:ea typeface="Montserrat SemiBold"/>
                  <a:cs typeface="Montserrat SemiBold"/>
                  <a:sym typeface="Montserrat SemiBold"/>
                </a:defRPr>
              </a:lvl1pPr>
            </a:lstStyle>
            <a:p>
              <a:r>
                <a:rPr lang="en-AU" sz="2533" dirty="0"/>
                <a:t>1</a:t>
              </a:r>
              <a:endParaRPr sz="2533" dirty="0"/>
            </a:p>
          </p:txBody>
        </p:sp>
      </p:grpSp>
      <p:grpSp>
        <p:nvGrpSpPr>
          <p:cNvPr id="23" name="Group"/>
          <p:cNvGrpSpPr/>
          <p:nvPr userDrawn="1"/>
        </p:nvGrpSpPr>
        <p:grpSpPr>
          <a:xfrm>
            <a:off x="1213259" y="17277638"/>
            <a:ext cx="30141047" cy="833219"/>
            <a:chOff x="0" y="169328"/>
            <a:chExt cx="22605783" cy="624914"/>
          </a:xfrm>
        </p:grpSpPr>
        <p:sp>
          <p:nvSpPr>
            <p:cNvPr id="24" name="Line"/>
            <p:cNvSpPr/>
            <p:nvPr/>
          </p:nvSpPr>
          <p:spPr>
            <a:xfrm>
              <a:off x="80655" y="169328"/>
              <a:ext cx="22499888" cy="0"/>
            </a:xfrm>
            <a:prstGeom prst="line">
              <a:avLst/>
            </a:prstGeom>
            <a:noFill/>
            <a:ln w="25400" cap="flat">
              <a:solidFill>
                <a:srgbClr val="FFFFFF"/>
              </a:solidFill>
              <a:prstDash val="solid"/>
              <a:miter lim="400000"/>
            </a:ln>
            <a:effectLst/>
          </p:spPr>
          <p:txBody>
            <a:bodyPr wrap="square" lIns="50800" tIns="50800" rIns="50800" bIns="50800" numCol="1" anchor="ctr">
              <a:noAutofit/>
            </a:bodyPr>
            <a:lstStyle/>
            <a:p>
              <a:pPr algn="l" defTabSz="609585">
                <a:defRPr sz="1200">
                  <a:latin typeface="Helvetica"/>
                  <a:ea typeface="Helvetica"/>
                  <a:cs typeface="Helvetica"/>
                  <a:sym typeface="Helvetica"/>
                </a:defRPr>
              </a:pPr>
              <a:endParaRPr sz="1600" dirty="0"/>
            </a:p>
          </p:txBody>
        </p:sp>
        <p:sp>
          <p:nvSpPr>
            <p:cNvPr id="25" name="© NSW Department of Education | Educational Leadership Induction"/>
            <p:cNvSpPr txBox="1"/>
            <p:nvPr/>
          </p:nvSpPr>
          <p:spPr>
            <a:xfrm>
              <a:off x="0" y="424958"/>
              <a:ext cx="10644963" cy="36928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50800" tIns="50800" rIns="50800" bIns="50800" numCol="1" anchor="ctr">
              <a:spAutoFit/>
            </a:bodyPr>
            <a:lstStyle/>
            <a:p>
              <a:pPr algn="l" defTabSz="609585">
                <a:defRPr sz="1900">
                  <a:solidFill>
                    <a:srgbClr val="FFFFFF"/>
                  </a:solidFill>
                  <a:latin typeface="Montserrat Bold"/>
                  <a:ea typeface="Montserrat Bold"/>
                  <a:cs typeface="Montserrat Bold"/>
                  <a:sym typeface="Montserrat Bold"/>
                </a:defRPr>
              </a:pPr>
              <a:r>
                <a:rPr sz="2533" dirty="0">
                  <a:latin typeface="Montserrat SemiBold"/>
                  <a:ea typeface="Montserrat SemiBold"/>
                  <a:cs typeface="Montserrat SemiBold"/>
                  <a:sym typeface="Montserrat SemiBold"/>
                </a:rPr>
                <a:t>© NSW Department of Education</a:t>
              </a:r>
              <a:r>
                <a:rPr sz="2533" dirty="0"/>
                <a:t> </a:t>
              </a:r>
            </a:p>
          </p:txBody>
        </p:sp>
        <p:sp>
          <p:nvSpPr>
            <p:cNvPr id="26" name="November 2017"/>
            <p:cNvSpPr txBox="1"/>
            <p:nvPr/>
          </p:nvSpPr>
          <p:spPr>
            <a:xfrm>
              <a:off x="19850100" y="424958"/>
              <a:ext cx="2095283" cy="36928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50800" tIns="50800" rIns="50800" bIns="50800" numCol="1" anchor="ctr">
              <a:spAutoFit/>
            </a:bodyPr>
            <a:lstStyle>
              <a:lvl1pPr algn="r" defTabSz="457200">
                <a:defRPr sz="1900">
                  <a:solidFill>
                    <a:srgbClr val="FFFFFF"/>
                  </a:solidFill>
                  <a:latin typeface="Montserrat Bold"/>
                  <a:ea typeface="Montserrat Bold"/>
                  <a:cs typeface="Montserrat Bold"/>
                  <a:sym typeface="Montserrat Bold"/>
                </a:defRPr>
              </a:lvl1pPr>
            </a:lstStyle>
            <a:p>
              <a:r>
                <a:rPr sz="2533" dirty="0"/>
                <a:t>November 2017</a:t>
              </a:r>
            </a:p>
          </p:txBody>
        </p:sp>
        <p:sp>
          <p:nvSpPr>
            <p:cNvPr id="27" name="2"/>
            <p:cNvSpPr txBox="1"/>
            <p:nvPr/>
          </p:nvSpPr>
          <p:spPr>
            <a:xfrm>
              <a:off x="22157878" y="424958"/>
              <a:ext cx="447905" cy="36928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50800" tIns="50800" rIns="50800" bIns="50800" numCol="1" anchor="ctr">
              <a:spAutoFit/>
            </a:bodyPr>
            <a:lstStyle>
              <a:lvl1pPr algn="r" defTabSz="457200">
                <a:defRPr sz="1900">
                  <a:solidFill>
                    <a:srgbClr val="FFFFFF"/>
                  </a:solidFill>
                  <a:latin typeface="Montserrat SemiBold"/>
                  <a:ea typeface="Montserrat SemiBold"/>
                  <a:cs typeface="Montserrat SemiBold"/>
                  <a:sym typeface="Montserrat SemiBold"/>
                </a:defRPr>
              </a:lvl1pPr>
            </a:lstStyle>
            <a:p>
              <a:r>
                <a:rPr lang="en-AU" sz="2533" dirty="0"/>
                <a:t>1</a:t>
              </a:r>
              <a:endParaRPr sz="2533" dirty="0"/>
            </a:p>
          </p:txBody>
        </p:sp>
      </p:grpSp>
      <p:sp>
        <p:nvSpPr>
          <p:cNvPr id="28" name="© NSW Department of Education | Educational Leadership Induction"/>
          <p:cNvSpPr txBox="1"/>
          <p:nvPr userDrawn="1"/>
        </p:nvSpPr>
        <p:spPr>
          <a:xfrm>
            <a:off x="1416459" y="17804580"/>
            <a:ext cx="14193285" cy="52657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67733" tIns="67733" rIns="67733" bIns="67733" numCol="1" anchor="ctr">
            <a:spAutoFit/>
          </a:bodyPr>
          <a:lstStyle/>
          <a:p>
            <a:pPr algn="l" defTabSz="609585">
              <a:defRPr sz="1900">
                <a:solidFill>
                  <a:srgbClr val="FFFFFF"/>
                </a:solidFill>
                <a:latin typeface="Montserrat Bold"/>
                <a:ea typeface="Montserrat Bold"/>
                <a:cs typeface="Montserrat Bold"/>
                <a:sym typeface="Montserrat Bold"/>
              </a:defRPr>
            </a:pPr>
            <a:r>
              <a:rPr sz="2533" dirty="0">
                <a:latin typeface="Montserrat SemiBold"/>
                <a:ea typeface="Montserrat SemiBold"/>
                <a:cs typeface="Montserrat SemiBold"/>
                <a:sym typeface="Montserrat SemiBold"/>
              </a:rPr>
              <a:t>© NSW Department of Education</a:t>
            </a:r>
            <a:r>
              <a:rPr sz="2533" dirty="0"/>
              <a:t> </a:t>
            </a:r>
          </a:p>
        </p:txBody>
      </p:sp>
      <p:sp>
        <p:nvSpPr>
          <p:cNvPr id="29" name="Footer Placeholder 39"/>
          <p:cNvSpPr>
            <a:spLocks noGrp="1"/>
          </p:cNvSpPr>
          <p:nvPr>
            <p:ph type="ftr" sz="quarter" idx="13"/>
          </p:nvPr>
        </p:nvSpPr>
        <p:spPr>
          <a:xfrm>
            <a:off x="334632" y="6329296"/>
            <a:ext cx="3649133" cy="364067"/>
          </a:xfrm>
          <a:prstGeom prst="rect">
            <a:avLst/>
          </a:prstGeom>
        </p:spPr>
        <p:txBody>
          <a:bodyPr/>
          <a:lstStyle>
            <a:lvl1pPr>
              <a:defRPr sz="1333" b="0" i="0" dirty="0" err="1">
                <a:solidFill>
                  <a:schemeClr val="bg1"/>
                </a:solidFill>
                <a:latin typeface="Arial" charset="0"/>
                <a:ea typeface="Arial" charset="0"/>
                <a:cs typeface="Arial" charset="0"/>
              </a:defRPr>
            </a:lvl1pPr>
          </a:lstStyle>
          <a:p>
            <a:pPr>
              <a:defRPr/>
            </a:pPr>
            <a:r>
              <a:rPr lang="en-AU" dirty="0"/>
              <a:t>Presentation Name</a:t>
            </a:r>
          </a:p>
        </p:txBody>
      </p:sp>
      <p:sp>
        <p:nvSpPr>
          <p:cNvPr id="30" name="Footer Placeholder 39"/>
          <p:cNvSpPr txBox="1">
            <a:spLocks/>
          </p:cNvSpPr>
          <p:nvPr userDrawn="1"/>
        </p:nvSpPr>
        <p:spPr>
          <a:xfrm>
            <a:off x="8688288" y="6329296"/>
            <a:ext cx="3168352" cy="364067"/>
          </a:xfrm>
          <a:prstGeom prst="rect">
            <a:avLst/>
          </a:prstGeom>
        </p:spPr>
        <p:txBody>
          <a:bodyPr lIns="0" anchor="b"/>
          <a:lstStyle>
            <a:defPPr>
              <a:defRPr lang="en-US"/>
            </a:defPPr>
            <a:lvl1pPr algn="l" rtl="0" fontAlgn="auto">
              <a:spcBef>
                <a:spcPts val="0"/>
              </a:spcBef>
              <a:spcAft>
                <a:spcPts val="0"/>
              </a:spcAft>
              <a:defRPr sz="1000" b="0" i="0" kern="1200" dirty="0" err="1">
                <a:solidFill>
                  <a:schemeClr val="bg1"/>
                </a:solidFill>
                <a:latin typeface="Arial" charset="0"/>
                <a:ea typeface="Arial" charset="0"/>
                <a:cs typeface="Arial" charset="0"/>
              </a:defRPr>
            </a:lvl1pPr>
            <a:lvl2pPr marL="4572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5pPr>
            <a:lvl6pPr marL="2286000" algn="l" defTabSz="457200" rtl="0" eaLnBrk="1" latinLnBrk="0" hangingPunct="1">
              <a:defRPr kern="1200">
                <a:solidFill>
                  <a:schemeClr val="tx1"/>
                </a:solidFill>
                <a:latin typeface="Montserrat Light" charset="0"/>
                <a:ea typeface="ＭＳ Ｐゴシック" charset="0"/>
                <a:cs typeface="ＭＳ Ｐゴシック" charset="0"/>
              </a:defRPr>
            </a:lvl6pPr>
            <a:lvl7pPr marL="2743200" algn="l" defTabSz="457200" rtl="0" eaLnBrk="1" latinLnBrk="0" hangingPunct="1">
              <a:defRPr kern="1200">
                <a:solidFill>
                  <a:schemeClr val="tx1"/>
                </a:solidFill>
                <a:latin typeface="Montserrat Light" charset="0"/>
                <a:ea typeface="ＭＳ Ｐゴシック" charset="0"/>
                <a:cs typeface="ＭＳ Ｐゴシック" charset="0"/>
              </a:defRPr>
            </a:lvl7pPr>
            <a:lvl8pPr marL="3200400" algn="l" defTabSz="457200" rtl="0" eaLnBrk="1" latinLnBrk="0" hangingPunct="1">
              <a:defRPr kern="1200">
                <a:solidFill>
                  <a:schemeClr val="tx1"/>
                </a:solidFill>
                <a:latin typeface="Montserrat Light" charset="0"/>
                <a:ea typeface="ＭＳ Ｐゴシック" charset="0"/>
                <a:cs typeface="ＭＳ Ｐゴシック" charset="0"/>
              </a:defRPr>
            </a:lvl8pPr>
            <a:lvl9pPr marL="3657600" algn="l" defTabSz="457200" rtl="0" eaLnBrk="1" latinLnBrk="0" hangingPunct="1">
              <a:defRPr kern="1200">
                <a:solidFill>
                  <a:schemeClr val="tx1"/>
                </a:solidFill>
                <a:latin typeface="Montserrat Light" charset="0"/>
                <a:ea typeface="ＭＳ Ｐゴシック" charset="0"/>
                <a:cs typeface="ＭＳ Ｐゴシック" charset="0"/>
              </a:defRPr>
            </a:lvl9pPr>
          </a:lstStyle>
          <a:p>
            <a:pPr algn="r">
              <a:defRPr/>
            </a:pPr>
            <a:r>
              <a:rPr lang="en-AU" sz="1333" dirty="0"/>
              <a:t>3</a:t>
            </a:r>
          </a:p>
        </p:txBody>
      </p:sp>
      <p:cxnSp>
        <p:nvCxnSpPr>
          <p:cNvPr id="31" name="Straight Connector 30"/>
          <p:cNvCxnSpPr/>
          <p:nvPr userDrawn="1"/>
        </p:nvCxnSpPr>
        <p:spPr>
          <a:xfrm>
            <a:off x="480000" y="6309320"/>
            <a:ext cx="112806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9462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Presentation slide 1 full column">
    <p:spTree>
      <p:nvGrpSpPr>
        <p:cNvPr id="1" name=""/>
        <p:cNvGrpSpPr/>
        <p:nvPr/>
      </p:nvGrpSpPr>
      <p:grpSpPr>
        <a:xfrm>
          <a:off x="0" y="0"/>
          <a:ext cx="0" cy="0"/>
          <a:chOff x="0" y="0"/>
          <a:chExt cx="0" cy="0"/>
        </a:xfrm>
      </p:grpSpPr>
      <p:sp>
        <p:nvSpPr>
          <p:cNvPr id="15" name="Footer Placeholder 39"/>
          <p:cNvSpPr>
            <a:spLocks noGrp="1"/>
          </p:cNvSpPr>
          <p:nvPr>
            <p:ph type="ftr" sz="quarter" idx="13"/>
          </p:nvPr>
        </p:nvSpPr>
        <p:spPr>
          <a:xfrm>
            <a:off x="335360" y="6329296"/>
            <a:ext cx="3649133" cy="364067"/>
          </a:xfrm>
          <a:prstGeom prst="rect">
            <a:avLst/>
          </a:prstGeom>
        </p:spPr>
        <p:txBody>
          <a:bodyPr/>
          <a:lstStyle>
            <a:lvl1pPr>
              <a:defRPr sz="1333" b="0" i="0" dirty="0" err="1">
                <a:solidFill>
                  <a:srgbClr val="191A33"/>
                </a:solidFill>
                <a:latin typeface="Arial" charset="0"/>
                <a:ea typeface="Arial" charset="0"/>
                <a:cs typeface="Arial" charset="0"/>
              </a:defRPr>
            </a:lvl1pPr>
          </a:lstStyle>
          <a:p>
            <a:pPr>
              <a:defRPr/>
            </a:pPr>
            <a:r>
              <a:rPr lang="en-AU" dirty="0"/>
              <a:t>Presentation Name</a:t>
            </a:r>
          </a:p>
        </p:txBody>
      </p:sp>
      <p:sp>
        <p:nvSpPr>
          <p:cNvPr id="16" name="Footer Placeholder 39"/>
          <p:cNvSpPr txBox="1">
            <a:spLocks/>
          </p:cNvSpPr>
          <p:nvPr userDrawn="1"/>
        </p:nvSpPr>
        <p:spPr>
          <a:xfrm>
            <a:off x="8688288" y="6329296"/>
            <a:ext cx="3168352" cy="364067"/>
          </a:xfrm>
          <a:prstGeom prst="rect">
            <a:avLst/>
          </a:prstGeom>
        </p:spPr>
        <p:txBody>
          <a:bodyPr lIns="0" anchor="b"/>
          <a:lstStyle>
            <a:defPPr>
              <a:defRPr lang="en-US"/>
            </a:defPPr>
            <a:lvl1pPr algn="l" rtl="0" fontAlgn="auto">
              <a:spcBef>
                <a:spcPts val="0"/>
              </a:spcBef>
              <a:spcAft>
                <a:spcPts val="0"/>
              </a:spcAft>
              <a:defRPr sz="1000" b="0" i="0" kern="1200" dirty="0" err="1">
                <a:solidFill>
                  <a:schemeClr val="bg1"/>
                </a:solidFill>
                <a:latin typeface="Arial" charset="0"/>
                <a:ea typeface="Arial" charset="0"/>
                <a:cs typeface="Arial" charset="0"/>
              </a:defRPr>
            </a:lvl1pPr>
            <a:lvl2pPr marL="4572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5pPr>
            <a:lvl6pPr marL="2286000" algn="l" defTabSz="457200" rtl="0" eaLnBrk="1" latinLnBrk="0" hangingPunct="1">
              <a:defRPr kern="1200">
                <a:solidFill>
                  <a:schemeClr val="tx1"/>
                </a:solidFill>
                <a:latin typeface="Montserrat Light" charset="0"/>
                <a:ea typeface="ＭＳ Ｐゴシック" charset="0"/>
                <a:cs typeface="ＭＳ Ｐゴシック" charset="0"/>
              </a:defRPr>
            </a:lvl6pPr>
            <a:lvl7pPr marL="2743200" algn="l" defTabSz="457200" rtl="0" eaLnBrk="1" latinLnBrk="0" hangingPunct="1">
              <a:defRPr kern="1200">
                <a:solidFill>
                  <a:schemeClr val="tx1"/>
                </a:solidFill>
                <a:latin typeface="Montserrat Light" charset="0"/>
                <a:ea typeface="ＭＳ Ｐゴシック" charset="0"/>
                <a:cs typeface="ＭＳ Ｐゴシック" charset="0"/>
              </a:defRPr>
            </a:lvl7pPr>
            <a:lvl8pPr marL="3200400" algn="l" defTabSz="457200" rtl="0" eaLnBrk="1" latinLnBrk="0" hangingPunct="1">
              <a:defRPr kern="1200">
                <a:solidFill>
                  <a:schemeClr val="tx1"/>
                </a:solidFill>
                <a:latin typeface="Montserrat Light" charset="0"/>
                <a:ea typeface="ＭＳ Ｐゴシック" charset="0"/>
                <a:cs typeface="ＭＳ Ｐゴシック" charset="0"/>
              </a:defRPr>
            </a:lvl8pPr>
            <a:lvl9pPr marL="3657600" algn="l" defTabSz="457200" rtl="0" eaLnBrk="1" latinLnBrk="0" hangingPunct="1">
              <a:defRPr kern="1200">
                <a:solidFill>
                  <a:schemeClr val="tx1"/>
                </a:solidFill>
                <a:latin typeface="Montserrat Light" charset="0"/>
                <a:ea typeface="ＭＳ Ｐゴシック" charset="0"/>
                <a:cs typeface="ＭＳ Ｐゴシック" charset="0"/>
              </a:defRPr>
            </a:lvl9pPr>
          </a:lstStyle>
          <a:p>
            <a:pPr algn="r">
              <a:defRPr/>
            </a:pPr>
            <a:r>
              <a:rPr lang="en-AU" sz="1333" dirty="0">
                <a:solidFill>
                  <a:srgbClr val="191A33"/>
                </a:solidFill>
              </a:rPr>
              <a:t>4</a:t>
            </a:r>
          </a:p>
        </p:txBody>
      </p:sp>
      <p:cxnSp>
        <p:nvCxnSpPr>
          <p:cNvPr id="17" name="Straight Connector 16"/>
          <p:cNvCxnSpPr/>
          <p:nvPr userDrawn="1"/>
        </p:nvCxnSpPr>
        <p:spPr>
          <a:xfrm>
            <a:off x="480000" y="6309320"/>
            <a:ext cx="11280629" cy="0"/>
          </a:xfrm>
          <a:prstGeom prst="line">
            <a:avLst/>
          </a:prstGeom>
          <a:ln>
            <a:solidFill>
              <a:srgbClr val="191A33"/>
            </a:solidFill>
          </a:ln>
        </p:spPr>
        <p:style>
          <a:lnRef idx="1">
            <a:schemeClr val="accent1"/>
          </a:lnRef>
          <a:fillRef idx="0">
            <a:schemeClr val="accent1"/>
          </a:fillRef>
          <a:effectRef idx="0">
            <a:schemeClr val="accent1"/>
          </a:effectRef>
          <a:fontRef idx="minor">
            <a:schemeClr val="tx1"/>
          </a:fontRef>
        </p:style>
      </p:cxnSp>
      <p:sp>
        <p:nvSpPr>
          <p:cNvPr id="18" name="Footer Placeholder 39"/>
          <p:cNvSpPr txBox="1">
            <a:spLocks/>
          </p:cNvSpPr>
          <p:nvPr userDrawn="1"/>
        </p:nvSpPr>
        <p:spPr>
          <a:xfrm>
            <a:off x="480000" y="336000"/>
            <a:ext cx="7536213" cy="596723"/>
          </a:xfrm>
          <a:prstGeom prst="rect">
            <a:avLst/>
          </a:prstGeom>
        </p:spPr>
        <p:txBody>
          <a:bodyPr lIns="0"/>
          <a:lstStyle>
            <a:defPPr>
              <a:defRPr lang="en-US"/>
            </a:defPPr>
            <a:lvl1pPr algn="l" rtl="0" fontAlgn="auto">
              <a:spcBef>
                <a:spcPts val="0"/>
              </a:spcBef>
              <a:spcAft>
                <a:spcPts val="0"/>
              </a:spcAft>
              <a:defRPr sz="1100" b="0" i="0" kern="1200" dirty="0" err="1" smtClean="0">
                <a:solidFill>
                  <a:schemeClr val="bg1"/>
                </a:solidFill>
                <a:latin typeface="Montserrat Medium"/>
                <a:ea typeface="+mn-ea"/>
                <a:cs typeface="Montserrat Medium"/>
              </a:defRPr>
            </a:lvl1pPr>
            <a:lvl2pPr marL="4572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5pPr>
            <a:lvl6pPr marL="2286000" algn="l" defTabSz="457200" rtl="0" eaLnBrk="1" latinLnBrk="0" hangingPunct="1">
              <a:defRPr kern="1200">
                <a:solidFill>
                  <a:schemeClr val="tx1"/>
                </a:solidFill>
                <a:latin typeface="Montserrat Light" charset="0"/>
                <a:ea typeface="ＭＳ Ｐゴシック" charset="0"/>
                <a:cs typeface="ＭＳ Ｐゴシック" charset="0"/>
              </a:defRPr>
            </a:lvl6pPr>
            <a:lvl7pPr marL="2743200" algn="l" defTabSz="457200" rtl="0" eaLnBrk="1" latinLnBrk="0" hangingPunct="1">
              <a:defRPr kern="1200">
                <a:solidFill>
                  <a:schemeClr val="tx1"/>
                </a:solidFill>
                <a:latin typeface="Montserrat Light" charset="0"/>
                <a:ea typeface="ＭＳ Ｐゴシック" charset="0"/>
                <a:cs typeface="ＭＳ Ｐゴシック" charset="0"/>
              </a:defRPr>
            </a:lvl7pPr>
            <a:lvl8pPr marL="3200400" algn="l" defTabSz="457200" rtl="0" eaLnBrk="1" latinLnBrk="0" hangingPunct="1">
              <a:defRPr kern="1200">
                <a:solidFill>
                  <a:schemeClr val="tx1"/>
                </a:solidFill>
                <a:latin typeface="Montserrat Light" charset="0"/>
                <a:ea typeface="ＭＳ Ｐゴシック" charset="0"/>
                <a:cs typeface="ＭＳ Ｐゴシック" charset="0"/>
              </a:defRPr>
            </a:lvl8pPr>
            <a:lvl9pPr marL="3657600" algn="l" defTabSz="457200" rtl="0" eaLnBrk="1" latinLnBrk="0" hangingPunct="1">
              <a:defRPr kern="1200">
                <a:solidFill>
                  <a:schemeClr val="tx1"/>
                </a:solidFill>
                <a:latin typeface="Montserrat Light" charset="0"/>
                <a:ea typeface="ＭＳ Ｐゴシック" charset="0"/>
                <a:cs typeface="ＭＳ Ｐゴシック" charset="0"/>
              </a:defRPr>
            </a:lvl9pPr>
          </a:lstStyle>
          <a:p>
            <a:pPr>
              <a:defRPr/>
            </a:pPr>
            <a:r>
              <a:rPr lang="en-AU" sz="2667" b="1" i="0" spc="0" dirty="0">
                <a:solidFill>
                  <a:srgbClr val="191A33"/>
                </a:solidFill>
                <a:latin typeface="Arial" charset="0"/>
                <a:ea typeface="Arial" charset="0"/>
                <a:cs typeface="Arial" charset="0"/>
              </a:rPr>
              <a:t>Main Heading</a:t>
            </a:r>
          </a:p>
        </p:txBody>
      </p:sp>
      <p:sp>
        <p:nvSpPr>
          <p:cNvPr id="2" name="TextBox 1"/>
          <p:cNvSpPr txBox="1"/>
          <p:nvPr userDrawn="1"/>
        </p:nvSpPr>
        <p:spPr>
          <a:xfrm>
            <a:off x="345636" y="1124745"/>
            <a:ext cx="6000043" cy="6027869"/>
          </a:xfrm>
          <a:prstGeom prst="rect">
            <a:avLst/>
          </a:prstGeom>
          <a:noFill/>
        </p:spPr>
        <p:txBody>
          <a:bodyPr wrap="square" rtlCol="0">
            <a:spAutoFit/>
          </a:bodyPr>
          <a:lstStyle/>
          <a:p>
            <a:pPr marL="0" marR="0" indent="0" algn="l" defTabSz="1219170" rtl="0" eaLnBrk="1" fontAlgn="base" latinLnBrk="0" hangingPunct="1">
              <a:lnSpc>
                <a:spcPct val="100000"/>
              </a:lnSpc>
              <a:spcBef>
                <a:spcPct val="0"/>
              </a:spcBef>
              <a:spcAft>
                <a:spcPct val="0"/>
              </a:spcAft>
              <a:buClrTx/>
              <a:buSzTx/>
              <a:buFontTx/>
              <a:buNone/>
              <a:tabLst/>
              <a:defRPr/>
            </a:pPr>
            <a:r>
              <a:rPr lang="en-GB" sz="3733" b="0" i="0" u="none" strike="noStrike" kern="1200" baseline="30000" dirty="0">
                <a:solidFill>
                  <a:schemeClr val="tx1"/>
                </a:solidFill>
                <a:latin typeface="Arial" charset="0"/>
                <a:ea typeface="Arial" charset="0"/>
                <a:cs typeface="Arial" charset="0"/>
              </a:rPr>
              <a:t>The department’s statement of comprehensive income for the year ended 30 June 2016 reports a net surplus of $70 million, $96 million lower than the initial budget estimates. </a:t>
            </a:r>
            <a:br>
              <a:rPr lang="en-GB" sz="3733" b="0" i="0" u="none" strike="noStrike" kern="1200" baseline="30000" dirty="0">
                <a:solidFill>
                  <a:schemeClr val="tx1"/>
                </a:solidFill>
                <a:latin typeface="Arial" charset="0"/>
                <a:ea typeface="Arial" charset="0"/>
                <a:cs typeface="Arial" charset="0"/>
              </a:rPr>
            </a:br>
            <a:r>
              <a:rPr lang="en-GB" sz="3733" b="0" i="0" u="none" strike="noStrike" kern="1200" baseline="30000" dirty="0">
                <a:solidFill>
                  <a:schemeClr val="tx1"/>
                </a:solidFill>
                <a:latin typeface="Arial" charset="0"/>
                <a:ea typeface="Arial" charset="0"/>
                <a:cs typeface="Arial" charset="0"/>
              </a:rPr>
              <a:t>Note 23 of the 2015-16 audited financial statements details the reasons for this variance:</a:t>
            </a:r>
          </a:p>
          <a:p>
            <a:pPr marL="0" marR="0" indent="0" algn="l" defTabSz="1219170" rtl="0" eaLnBrk="1" fontAlgn="base" latinLnBrk="0" hangingPunct="1">
              <a:lnSpc>
                <a:spcPct val="100000"/>
              </a:lnSpc>
              <a:spcBef>
                <a:spcPct val="0"/>
              </a:spcBef>
              <a:spcAft>
                <a:spcPct val="0"/>
              </a:spcAft>
              <a:buClrTx/>
              <a:buSzTx/>
              <a:buFontTx/>
              <a:buNone/>
              <a:tabLst/>
              <a:defRPr/>
            </a:pPr>
            <a:endParaRPr lang="en-GB" sz="3733" b="0" i="0" u="none" strike="noStrike" kern="1200" baseline="30000" dirty="0">
              <a:solidFill>
                <a:schemeClr val="tx1"/>
              </a:solidFill>
              <a:latin typeface="Arial" charset="0"/>
              <a:ea typeface="Arial" charset="0"/>
              <a:cs typeface="Arial" charset="0"/>
            </a:endParaRPr>
          </a:p>
          <a:p>
            <a:pPr marL="0" marR="0" indent="0" algn="l" defTabSz="1219170" rtl="0" eaLnBrk="1" fontAlgn="base" latinLnBrk="0" hangingPunct="1">
              <a:lnSpc>
                <a:spcPct val="100000"/>
              </a:lnSpc>
              <a:spcBef>
                <a:spcPct val="0"/>
              </a:spcBef>
              <a:spcAft>
                <a:spcPct val="0"/>
              </a:spcAft>
              <a:buClrTx/>
              <a:buSzTx/>
              <a:buFontTx/>
              <a:buNone/>
              <a:tabLst/>
              <a:defRPr/>
            </a:pPr>
            <a:r>
              <a:rPr lang="en-GB" sz="3733" b="0" i="0" u="none" strike="noStrike" kern="1200" baseline="30000" dirty="0">
                <a:solidFill>
                  <a:schemeClr val="tx1"/>
                </a:solidFill>
                <a:latin typeface="Arial" charset="0"/>
                <a:ea typeface="Arial" charset="0"/>
                <a:cs typeface="Arial" charset="0"/>
              </a:rPr>
              <a:t>– The department’s statement of</a:t>
            </a:r>
          </a:p>
          <a:p>
            <a:pPr marL="0" marR="0" indent="0" algn="l" defTabSz="1219170" rtl="0" eaLnBrk="1" fontAlgn="base" latinLnBrk="0" hangingPunct="1">
              <a:lnSpc>
                <a:spcPct val="100000"/>
              </a:lnSpc>
              <a:spcBef>
                <a:spcPct val="0"/>
              </a:spcBef>
              <a:spcAft>
                <a:spcPct val="0"/>
              </a:spcAft>
              <a:buClrTx/>
              <a:buSzTx/>
              <a:buFontTx/>
              <a:buNone/>
              <a:tabLst/>
              <a:defRPr/>
            </a:pPr>
            <a:r>
              <a:rPr lang="en-GB" sz="3733" b="0" i="0" u="none" strike="noStrike" kern="1200" baseline="30000" dirty="0">
                <a:solidFill>
                  <a:schemeClr val="tx1"/>
                </a:solidFill>
                <a:latin typeface="Arial" charset="0"/>
                <a:ea typeface="Arial" charset="0"/>
                <a:cs typeface="Arial" charset="0"/>
              </a:rPr>
              <a:t>– The department’s statement of</a:t>
            </a:r>
          </a:p>
          <a:p>
            <a:pPr marL="0" marR="0" indent="0" algn="l" defTabSz="1219170" rtl="0" eaLnBrk="1" fontAlgn="base" latinLnBrk="0" hangingPunct="1">
              <a:lnSpc>
                <a:spcPct val="100000"/>
              </a:lnSpc>
              <a:spcBef>
                <a:spcPct val="0"/>
              </a:spcBef>
              <a:spcAft>
                <a:spcPct val="0"/>
              </a:spcAft>
              <a:buClrTx/>
              <a:buSzTx/>
              <a:buFontTx/>
              <a:buNone/>
              <a:tabLst/>
              <a:defRPr/>
            </a:pPr>
            <a:r>
              <a:rPr lang="en-GB" sz="3733" b="0" i="0" u="none" strike="noStrike" kern="1200" baseline="30000" dirty="0">
                <a:solidFill>
                  <a:schemeClr val="tx1"/>
                </a:solidFill>
                <a:latin typeface="Arial" charset="0"/>
                <a:ea typeface="Arial" charset="0"/>
                <a:cs typeface="Arial" charset="0"/>
              </a:rPr>
              <a:t>– The department’s statement of</a:t>
            </a:r>
            <a:endParaRPr lang="en-US" sz="3733" dirty="0">
              <a:latin typeface="Arial" charset="0"/>
              <a:ea typeface="Arial" charset="0"/>
              <a:cs typeface="Arial" charset="0"/>
            </a:endParaRPr>
          </a:p>
          <a:p>
            <a:pPr marL="0" marR="0" indent="0" algn="l" defTabSz="1219170" rtl="0" eaLnBrk="1" fontAlgn="base" latinLnBrk="0" hangingPunct="1">
              <a:lnSpc>
                <a:spcPct val="100000"/>
              </a:lnSpc>
              <a:spcBef>
                <a:spcPct val="0"/>
              </a:spcBef>
              <a:spcAft>
                <a:spcPct val="0"/>
              </a:spcAft>
              <a:buClrTx/>
              <a:buSzTx/>
              <a:buFontTx/>
              <a:buNone/>
              <a:tabLst/>
              <a:defRPr/>
            </a:pPr>
            <a:endParaRPr lang="en-US" sz="3733" dirty="0">
              <a:latin typeface="Arial" charset="0"/>
              <a:ea typeface="Arial" charset="0"/>
              <a:cs typeface="Arial" charset="0"/>
            </a:endParaRPr>
          </a:p>
          <a:p>
            <a:pPr marL="0" marR="0" indent="0" algn="l" defTabSz="1219170" rtl="0" eaLnBrk="1" fontAlgn="base" latinLnBrk="0" hangingPunct="1">
              <a:lnSpc>
                <a:spcPct val="100000"/>
              </a:lnSpc>
              <a:spcBef>
                <a:spcPct val="0"/>
              </a:spcBef>
              <a:spcAft>
                <a:spcPct val="0"/>
              </a:spcAft>
              <a:buClrTx/>
              <a:buSzTx/>
              <a:buFontTx/>
              <a:buNone/>
              <a:tabLst/>
              <a:defRPr/>
            </a:pPr>
            <a:endParaRPr lang="en-US" sz="3733" dirty="0">
              <a:latin typeface="Arial" charset="0"/>
              <a:ea typeface="Arial" charset="0"/>
              <a:cs typeface="Arial" charset="0"/>
            </a:endParaRPr>
          </a:p>
        </p:txBody>
      </p:sp>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val="0"/>
              </a:ext>
            </a:extLst>
          </a:blip>
          <a:srcRect l="18295" t="6181" r="18378" b="5864"/>
          <a:stretch/>
        </p:blipFill>
        <p:spPr>
          <a:xfrm>
            <a:off x="6864086" y="932723"/>
            <a:ext cx="4800533" cy="4800533"/>
          </a:xfrm>
          <a:prstGeom prst="rect">
            <a:avLst/>
          </a:prstGeom>
        </p:spPr>
      </p:pic>
    </p:spTree>
    <p:extLst>
      <p:ext uri="{BB962C8B-B14F-4D97-AF65-F5344CB8AC3E}">
        <p14:creationId xmlns:p14="http://schemas.microsoft.com/office/powerpoint/2010/main" val="12881902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Presentation slide 1 full column">
    <p:spTree>
      <p:nvGrpSpPr>
        <p:cNvPr id="1" name=""/>
        <p:cNvGrpSpPr/>
        <p:nvPr/>
      </p:nvGrpSpPr>
      <p:grpSpPr>
        <a:xfrm>
          <a:off x="0" y="0"/>
          <a:ext cx="0" cy="0"/>
          <a:chOff x="0" y="0"/>
          <a:chExt cx="0" cy="0"/>
        </a:xfrm>
      </p:grpSpPr>
      <p:sp>
        <p:nvSpPr>
          <p:cNvPr id="15" name="Footer Placeholder 39"/>
          <p:cNvSpPr>
            <a:spLocks noGrp="1"/>
          </p:cNvSpPr>
          <p:nvPr>
            <p:ph type="ftr" sz="quarter" idx="13"/>
          </p:nvPr>
        </p:nvSpPr>
        <p:spPr>
          <a:xfrm>
            <a:off x="335360" y="6329296"/>
            <a:ext cx="3649133" cy="364067"/>
          </a:xfrm>
          <a:prstGeom prst="rect">
            <a:avLst/>
          </a:prstGeom>
        </p:spPr>
        <p:txBody>
          <a:bodyPr/>
          <a:lstStyle>
            <a:lvl1pPr>
              <a:defRPr sz="1333" b="0" i="0" dirty="0" err="1">
                <a:solidFill>
                  <a:srgbClr val="191A33"/>
                </a:solidFill>
                <a:latin typeface="Arial" charset="0"/>
                <a:ea typeface="Arial" charset="0"/>
                <a:cs typeface="Arial" charset="0"/>
              </a:defRPr>
            </a:lvl1pPr>
          </a:lstStyle>
          <a:p>
            <a:pPr>
              <a:defRPr/>
            </a:pPr>
            <a:r>
              <a:rPr lang="en-AU" dirty="0"/>
              <a:t>Presentation Name</a:t>
            </a:r>
          </a:p>
        </p:txBody>
      </p:sp>
      <p:sp>
        <p:nvSpPr>
          <p:cNvPr id="16" name="Footer Placeholder 39"/>
          <p:cNvSpPr txBox="1">
            <a:spLocks/>
          </p:cNvSpPr>
          <p:nvPr userDrawn="1"/>
        </p:nvSpPr>
        <p:spPr>
          <a:xfrm>
            <a:off x="8688288" y="6329296"/>
            <a:ext cx="3168352" cy="364067"/>
          </a:xfrm>
          <a:prstGeom prst="rect">
            <a:avLst/>
          </a:prstGeom>
        </p:spPr>
        <p:txBody>
          <a:bodyPr lIns="0" anchor="b"/>
          <a:lstStyle>
            <a:defPPr>
              <a:defRPr lang="en-US"/>
            </a:defPPr>
            <a:lvl1pPr algn="l" rtl="0" fontAlgn="auto">
              <a:spcBef>
                <a:spcPts val="0"/>
              </a:spcBef>
              <a:spcAft>
                <a:spcPts val="0"/>
              </a:spcAft>
              <a:defRPr sz="1000" b="0" i="0" kern="1200" dirty="0" err="1">
                <a:solidFill>
                  <a:schemeClr val="bg1"/>
                </a:solidFill>
                <a:latin typeface="Arial" charset="0"/>
                <a:ea typeface="Arial" charset="0"/>
                <a:cs typeface="Arial" charset="0"/>
              </a:defRPr>
            </a:lvl1pPr>
            <a:lvl2pPr marL="4572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5pPr>
            <a:lvl6pPr marL="2286000" algn="l" defTabSz="457200" rtl="0" eaLnBrk="1" latinLnBrk="0" hangingPunct="1">
              <a:defRPr kern="1200">
                <a:solidFill>
                  <a:schemeClr val="tx1"/>
                </a:solidFill>
                <a:latin typeface="Montserrat Light" charset="0"/>
                <a:ea typeface="ＭＳ Ｐゴシック" charset="0"/>
                <a:cs typeface="ＭＳ Ｐゴシック" charset="0"/>
              </a:defRPr>
            </a:lvl6pPr>
            <a:lvl7pPr marL="2743200" algn="l" defTabSz="457200" rtl="0" eaLnBrk="1" latinLnBrk="0" hangingPunct="1">
              <a:defRPr kern="1200">
                <a:solidFill>
                  <a:schemeClr val="tx1"/>
                </a:solidFill>
                <a:latin typeface="Montserrat Light" charset="0"/>
                <a:ea typeface="ＭＳ Ｐゴシック" charset="0"/>
                <a:cs typeface="ＭＳ Ｐゴシック" charset="0"/>
              </a:defRPr>
            </a:lvl7pPr>
            <a:lvl8pPr marL="3200400" algn="l" defTabSz="457200" rtl="0" eaLnBrk="1" latinLnBrk="0" hangingPunct="1">
              <a:defRPr kern="1200">
                <a:solidFill>
                  <a:schemeClr val="tx1"/>
                </a:solidFill>
                <a:latin typeface="Montserrat Light" charset="0"/>
                <a:ea typeface="ＭＳ Ｐゴシック" charset="0"/>
                <a:cs typeface="ＭＳ Ｐゴシック" charset="0"/>
              </a:defRPr>
            </a:lvl8pPr>
            <a:lvl9pPr marL="3657600" algn="l" defTabSz="457200" rtl="0" eaLnBrk="1" latinLnBrk="0" hangingPunct="1">
              <a:defRPr kern="1200">
                <a:solidFill>
                  <a:schemeClr val="tx1"/>
                </a:solidFill>
                <a:latin typeface="Montserrat Light" charset="0"/>
                <a:ea typeface="ＭＳ Ｐゴシック" charset="0"/>
                <a:cs typeface="ＭＳ Ｐゴシック" charset="0"/>
              </a:defRPr>
            </a:lvl9pPr>
          </a:lstStyle>
          <a:p>
            <a:pPr algn="r">
              <a:defRPr/>
            </a:pPr>
            <a:r>
              <a:rPr lang="en-AU" sz="1333" dirty="0">
                <a:solidFill>
                  <a:srgbClr val="191A33"/>
                </a:solidFill>
              </a:rPr>
              <a:t>5</a:t>
            </a:r>
          </a:p>
        </p:txBody>
      </p:sp>
      <p:cxnSp>
        <p:nvCxnSpPr>
          <p:cNvPr id="17" name="Straight Connector 16"/>
          <p:cNvCxnSpPr/>
          <p:nvPr userDrawn="1"/>
        </p:nvCxnSpPr>
        <p:spPr>
          <a:xfrm>
            <a:off x="480000" y="6309320"/>
            <a:ext cx="11280629" cy="0"/>
          </a:xfrm>
          <a:prstGeom prst="line">
            <a:avLst/>
          </a:prstGeom>
          <a:ln>
            <a:solidFill>
              <a:srgbClr val="191A33"/>
            </a:solidFill>
          </a:ln>
        </p:spPr>
        <p:style>
          <a:lnRef idx="1">
            <a:schemeClr val="accent1"/>
          </a:lnRef>
          <a:fillRef idx="0">
            <a:schemeClr val="accent1"/>
          </a:fillRef>
          <a:effectRef idx="0">
            <a:schemeClr val="accent1"/>
          </a:effectRef>
          <a:fontRef idx="minor">
            <a:schemeClr val="tx1"/>
          </a:fontRef>
        </p:style>
      </p:cxnSp>
      <p:sp>
        <p:nvSpPr>
          <p:cNvPr id="18" name="Footer Placeholder 39"/>
          <p:cNvSpPr txBox="1">
            <a:spLocks/>
          </p:cNvSpPr>
          <p:nvPr userDrawn="1"/>
        </p:nvSpPr>
        <p:spPr>
          <a:xfrm>
            <a:off x="480000" y="336000"/>
            <a:ext cx="7536213" cy="596723"/>
          </a:xfrm>
          <a:prstGeom prst="rect">
            <a:avLst/>
          </a:prstGeom>
        </p:spPr>
        <p:txBody>
          <a:bodyPr lIns="0"/>
          <a:lstStyle>
            <a:defPPr>
              <a:defRPr lang="en-US"/>
            </a:defPPr>
            <a:lvl1pPr algn="l" rtl="0" fontAlgn="auto">
              <a:spcBef>
                <a:spcPts val="0"/>
              </a:spcBef>
              <a:spcAft>
                <a:spcPts val="0"/>
              </a:spcAft>
              <a:defRPr sz="1100" b="0" i="0" kern="1200" dirty="0" err="1" smtClean="0">
                <a:solidFill>
                  <a:schemeClr val="bg1"/>
                </a:solidFill>
                <a:latin typeface="Montserrat Medium"/>
                <a:ea typeface="+mn-ea"/>
                <a:cs typeface="Montserrat Medium"/>
              </a:defRPr>
            </a:lvl1pPr>
            <a:lvl2pPr marL="4572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5pPr>
            <a:lvl6pPr marL="2286000" algn="l" defTabSz="457200" rtl="0" eaLnBrk="1" latinLnBrk="0" hangingPunct="1">
              <a:defRPr kern="1200">
                <a:solidFill>
                  <a:schemeClr val="tx1"/>
                </a:solidFill>
                <a:latin typeface="Montserrat Light" charset="0"/>
                <a:ea typeface="ＭＳ Ｐゴシック" charset="0"/>
                <a:cs typeface="ＭＳ Ｐゴシック" charset="0"/>
              </a:defRPr>
            </a:lvl6pPr>
            <a:lvl7pPr marL="2743200" algn="l" defTabSz="457200" rtl="0" eaLnBrk="1" latinLnBrk="0" hangingPunct="1">
              <a:defRPr kern="1200">
                <a:solidFill>
                  <a:schemeClr val="tx1"/>
                </a:solidFill>
                <a:latin typeface="Montserrat Light" charset="0"/>
                <a:ea typeface="ＭＳ Ｐゴシック" charset="0"/>
                <a:cs typeface="ＭＳ Ｐゴシック" charset="0"/>
              </a:defRPr>
            </a:lvl7pPr>
            <a:lvl8pPr marL="3200400" algn="l" defTabSz="457200" rtl="0" eaLnBrk="1" latinLnBrk="0" hangingPunct="1">
              <a:defRPr kern="1200">
                <a:solidFill>
                  <a:schemeClr val="tx1"/>
                </a:solidFill>
                <a:latin typeface="Montserrat Light" charset="0"/>
                <a:ea typeface="ＭＳ Ｐゴシック" charset="0"/>
                <a:cs typeface="ＭＳ Ｐゴシック" charset="0"/>
              </a:defRPr>
            </a:lvl8pPr>
            <a:lvl9pPr marL="3657600" algn="l" defTabSz="457200" rtl="0" eaLnBrk="1" latinLnBrk="0" hangingPunct="1">
              <a:defRPr kern="1200">
                <a:solidFill>
                  <a:schemeClr val="tx1"/>
                </a:solidFill>
                <a:latin typeface="Montserrat Light" charset="0"/>
                <a:ea typeface="ＭＳ Ｐゴシック" charset="0"/>
                <a:cs typeface="ＭＳ Ｐゴシック" charset="0"/>
              </a:defRPr>
            </a:lvl9pPr>
          </a:lstStyle>
          <a:p>
            <a:pPr>
              <a:defRPr/>
            </a:pPr>
            <a:r>
              <a:rPr lang="en-AU" sz="2667" b="1" i="0" spc="0" dirty="0">
                <a:solidFill>
                  <a:srgbClr val="191A33"/>
                </a:solidFill>
                <a:latin typeface="Arial" charset="0"/>
                <a:ea typeface="Arial" charset="0"/>
                <a:cs typeface="Arial" charset="0"/>
              </a:rPr>
              <a:t>Main Heading</a:t>
            </a:r>
          </a:p>
        </p:txBody>
      </p:sp>
      <p:sp>
        <p:nvSpPr>
          <p:cNvPr id="2" name="TextBox 1"/>
          <p:cNvSpPr txBox="1"/>
          <p:nvPr userDrawn="1"/>
        </p:nvSpPr>
        <p:spPr>
          <a:xfrm>
            <a:off x="480000" y="1124744"/>
            <a:ext cx="11184619" cy="4896544"/>
          </a:xfrm>
          <a:prstGeom prst="rect">
            <a:avLst/>
          </a:prstGeom>
          <a:noFill/>
        </p:spPr>
        <p:txBody>
          <a:bodyPr wrap="none" lIns="0" tIns="0" rIns="0" bIns="0" numCol="2" spcCol="216000" rtlCol="0">
            <a:noAutofit/>
          </a:bodyPr>
          <a:lstStyle/>
          <a:p>
            <a:pPr rtl="0"/>
            <a:r>
              <a:rPr lang="en-GB" sz="3200" b="0" i="0" u="none" strike="noStrike" kern="1200" baseline="30000" dirty="0">
                <a:solidFill>
                  <a:schemeClr val="tx1"/>
                </a:solidFill>
                <a:latin typeface="Arial" charset="0"/>
                <a:ea typeface="Arial" charset="0"/>
                <a:cs typeface="Arial" charset="0"/>
              </a:rPr>
              <a:t>Approximately 68 per cent, or $8.9 billion, of expenses incurred during 2015-16 were employee-</a:t>
            </a:r>
            <a:r>
              <a:rPr lang="en-GB" sz="3200" b="0" i="0" u="none" strike="noStrike" kern="1200" baseline="30000" dirty="0" err="1">
                <a:solidFill>
                  <a:schemeClr val="tx1"/>
                </a:solidFill>
                <a:latin typeface="Arial" charset="0"/>
                <a:ea typeface="Arial" charset="0"/>
                <a:cs typeface="Arial" charset="0"/>
              </a:rPr>
              <a:t>related.The</a:t>
            </a:r>
            <a:r>
              <a:rPr lang="en-GB" sz="3200" b="0" i="0" u="none" strike="noStrike" kern="1200" baseline="30000" dirty="0">
                <a:solidFill>
                  <a:schemeClr val="tx1"/>
                </a:solidFill>
                <a:latin typeface="Arial" charset="0"/>
                <a:ea typeface="Arial" charset="0"/>
                <a:cs typeface="Arial" charset="0"/>
              </a:rPr>
              <a:t> majority of these costs were salaries for teachers and other essential staff who support the delivery of education programs in NSW public schools.</a:t>
            </a:r>
            <a:br>
              <a:rPr lang="en-GB" sz="3200" b="0" i="0" u="none" strike="noStrike" kern="1200" baseline="30000" dirty="0">
                <a:solidFill>
                  <a:schemeClr val="tx1"/>
                </a:solidFill>
                <a:latin typeface="Arial" charset="0"/>
                <a:ea typeface="Arial" charset="0"/>
                <a:cs typeface="Arial" charset="0"/>
              </a:rPr>
            </a:br>
            <a:endParaRPr lang="en-GB" sz="3200" b="0" i="0" u="none" strike="noStrike" kern="1200" baseline="30000" dirty="0">
              <a:solidFill>
                <a:schemeClr val="tx1"/>
              </a:solidFill>
              <a:latin typeface="Arial" charset="0"/>
              <a:ea typeface="Arial" charset="0"/>
              <a:cs typeface="Arial" charset="0"/>
            </a:endParaRPr>
          </a:p>
          <a:p>
            <a:pPr rtl="0"/>
            <a:r>
              <a:rPr lang="en-GB" sz="3200" b="0" i="0" u="none" strike="noStrike" kern="1200" baseline="30000" dirty="0">
                <a:solidFill>
                  <a:schemeClr val="tx1"/>
                </a:solidFill>
                <a:latin typeface="Arial" charset="0"/>
                <a:ea typeface="Arial" charset="0"/>
                <a:cs typeface="Arial" charset="0"/>
              </a:rPr>
              <a:t>For 2015-16, the other operating and finance expenses comprise approximately 15 per cent of total expenses, or almost $2 billion. These expenses include approximately $629 million in direct school operating expenses and $365 million in maintenance-related expenses.</a:t>
            </a:r>
          </a:p>
          <a:p>
            <a:pPr rtl="0"/>
            <a:r>
              <a:rPr lang="en-GB" sz="3200" b="0" i="0" u="none" strike="noStrike" kern="1200" baseline="30000" dirty="0">
                <a:solidFill>
                  <a:schemeClr val="tx1"/>
                </a:solidFill>
                <a:latin typeface="Arial" charset="0"/>
                <a:ea typeface="Arial" charset="0"/>
                <a:cs typeface="Arial" charset="0"/>
              </a:rPr>
              <a:t/>
            </a:r>
            <a:br>
              <a:rPr lang="en-GB" sz="3200" b="0" i="0" u="none" strike="noStrike" kern="1200" baseline="30000" dirty="0">
                <a:solidFill>
                  <a:schemeClr val="tx1"/>
                </a:solidFill>
                <a:latin typeface="Arial" charset="0"/>
                <a:ea typeface="Arial" charset="0"/>
                <a:cs typeface="Arial" charset="0"/>
              </a:rPr>
            </a:br>
            <a:r>
              <a:rPr lang="en-GB" sz="3200" b="0" i="0" u="none" strike="noStrike" kern="1200" baseline="30000" dirty="0">
                <a:solidFill>
                  <a:schemeClr val="tx1"/>
                </a:solidFill>
                <a:latin typeface="Arial" charset="0"/>
                <a:ea typeface="Arial" charset="0"/>
                <a:cs typeface="Arial" charset="0"/>
              </a:rPr>
              <a:t>Grants and subsidies also supported the provision of education and related services, with more than $1.6 billion provided in 2015-16. Grants and subsidies expenditure in 2015-16 was significantly lower than the previous year because the TAFE Commission and Multicultural NSW were transferred out of the Education Cluster.</a:t>
            </a:r>
          </a:p>
        </p:txBody>
      </p:sp>
    </p:spTree>
    <p:extLst>
      <p:ext uri="{BB962C8B-B14F-4D97-AF65-F5344CB8AC3E}">
        <p14:creationId xmlns:p14="http://schemas.microsoft.com/office/powerpoint/2010/main" val="40826548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4_Presentation slide 1 full column">
    <p:spTree>
      <p:nvGrpSpPr>
        <p:cNvPr id="1" name=""/>
        <p:cNvGrpSpPr/>
        <p:nvPr/>
      </p:nvGrpSpPr>
      <p:grpSpPr>
        <a:xfrm>
          <a:off x="0" y="0"/>
          <a:ext cx="0" cy="0"/>
          <a:chOff x="0" y="0"/>
          <a:chExt cx="0" cy="0"/>
        </a:xfrm>
      </p:grpSpPr>
      <p:sp>
        <p:nvSpPr>
          <p:cNvPr id="15" name="Footer Placeholder 39"/>
          <p:cNvSpPr>
            <a:spLocks noGrp="1"/>
          </p:cNvSpPr>
          <p:nvPr>
            <p:ph type="ftr" sz="quarter" idx="13"/>
          </p:nvPr>
        </p:nvSpPr>
        <p:spPr>
          <a:xfrm>
            <a:off x="335360" y="6329296"/>
            <a:ext cx="3649133" cy="364067"/>
          </a:xfrm>
          <a:prstGeom prst="rect">
            <a:avLst/>
          </a:prstGeom>
        </p:spPr>
        <p:txBody>
          <a:bodyPr/>
          <a:lstStyle>
            <a:lvl1pPr>
              <a:defRPr sz="1333" b="0" i="0" dirty="0" err="1">
                <a:solidFill>
                  <a:srgbClr val="191A33"/>
                </a:solidFill>
                <a:latin typeface="Arial" charset="0"/>
                <a:ea typeface="Arial" charset="0"/>
                <a:cs typeface="Arial" charset="0"/>
              </a:defRPr>
            </a:lvl1pPr>
          </a:lstStyle>
          <a:p>
            <a:pPr>
              <a:defRPr/>
            </a:pPr>
            <a:r>
              <a:rPr lang="en-AU" dirty="0"/>
              <a:t>Presentation Name</a:t>
            </a:r>
          </a:p>
        </p:txBody>
      </p:sp>
      <p:sp>
        <p:nvSpPr>
          <p:cNvPr id="16" name="Footer Placeholder 39"/>
          <p:cNvSpPr txBox="1">
            <a:spLocks/>
          </p:cNvSpPr>
          <p:nvPr userDrawn="1"/>
        </p:nvSpPr>
        <p:spPr>
          <a:xfrm>
            <a:off x="8688288" y="6329296"/>
            <a:ext cx="3168352" cy="364067"/>
          </a:xfrm>
          <a:prstGeom prst="rect">
            <a:avLst/>
          </a:prstGeom>
        </p:spPr>
        <p:txBody>
          <a:bodyPr lIns="0" anchor="b"/>
          <a:lstStyle>
            <a:defPPr>
              <a:defRPr lang="en-US"/>
            </a:defPPr>
            <a:lvl1pPr algn="l" rtl="0" fontAlgn="auto">
              <a:spcBef>
                <a:spcPts val="0"/>
              </a:spcBef>
              <a:spcAft>
                <a:spcPts val="0"/>
              </a:spcAft>
              <a:defRPr sz="1000" b="0" i="0" kern="1200" dirty="0" err="1">
                <a:solidFill>
                  <a:schemeClr val="bg1"/>
                </a:solidFill>
                <a:latin typeface="Arial" charset="0"/>
                <a:ea typeface="Arial" charset="0"/>
                <a:cs typeface="Arial" charset="0"/>
              </a:defRPr>
            </a:lvl1pPr>
            <a:lvl2pPr marL="4572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5pPr>
            <a:lvl6pPr marL="2286000" algn="l" defTabSz="457200" rtl="0" eaLnBrk="1" latinLnBrk="0" hangingPunct="1">
              <a:defRPr kern="1200">
                <a:solidFill>
                  <a:schemeClr val="tx1"/>
                </a:solidFill>
                <a:latin typeface="Montserrat Light" charset="0"/>
                <a:ea typeface="ＭＳ Ｐゴシック" charset="0"/>
                <a:cs typeface="ＭＳ Ｐゴシック" charset="0"/>
              </a:defRPr>
            </a:lvl6pPr>
            <a:lvl7pPr marL="2743200" algn="l" defTabSz="457200" rtl="0" eaLnBrk="1" latinLnBrk="0" hangingPunct="1">
              <a:defRPr kern="1200">
                <a:solidFill>
                  <a:schemeClr val="tx1"/>
                </a:solidFill>
                <a:latin typeface="Montserrat Light" charset="0"/>
                <a:ea typeface="ＭＳ Ｐゴシック" charset="0"/>
                <a:cs typeface="ＭＳ Ｐゴシック" charset="0"/>
              </a:defRPr>
            </a:lvl7pPr>
            <a:lvl8pPr marL="3200400" algn="l" defTabSz="457200" rtl="0" eaLnBrk="1" latinLnBrk="0" hangingPunct="1">
              <a:defRPr kern="1200">
                <a:solidFill>
                  <a:schemeClr val="tx1"/>
                </a:solidFill>
                <a:latin typeface="Montserrat Light" charset="0"/>
                <a:ea typeface="ＭＳ Ｐゴシック" charset="0"/>
                <a:cs typeface="ＭＳ Ｐゴシック" charset="0"/>
              </a:defRPr>
            </a:lvl8pPr>
            <a:lvl9pPr marL="3657600" algn="l" defTabSz="457200" rtl="0" eaLnBrk="1" latinLnBrk="0" hangingPunct="1">
              <a:defRPr kern="1200">
                <a:solidFill>
                  <a:schemeClr val="tx1"/>
                </a:solidFill>
                <a:latin typeface="Montserrat Light" charset="0"/>
                <a:ea typeface="ＭＳ Ｐゴシック" charset="0"/>
                <a:cs typeface="ＭＳ Ｐゴシック" charset="0"/>
              </a:defRPr>
            </a:lvl9pPr>
          </a:lstStyle>
          <a:p>
            <a:pPr algn="r">
              <a:defRPr/>
            </a:pPr>
            <a:r>
              <a:rPr lang="en-AU" sz="1333" dirty="0">
                <a:solidFill>
                  <a:srgbClr val="191A33"/>
                </a:solidFill>
              </a:rPr>
              <a:t>6</a:t>
            </a:r>
          </a:p>
        </p:txBody>
      </p:sp>
      <p:cxnSp>
        <p:nvCxnSpPr>
          <p:cNvPr id="17" name="Straight Connector 16"/>
          <p:cNvCxnSpPr/>
          <p:nvPr userDrawn="1"/>
        </p:nvCxnSpPr>
        <p:spPr>
          <a:xfrm>
            <a:off x="480000" y="6309320"/>
            <a:ext cx="11280629" cy="0"/>
          </a:xfrm>
          <a:prstGeom prst="line">
            <a:avLst/>
          </a:prstGeom>
          <a:ln>
            <a:solidFill>
              <a:srgbClr val="191A33"/>
            </a:solidFill>
          </a:ln>
        </p:spPr>
        <p:style>
          <a:lnRef idx="1">
            <a:schemeClr val="accent1"/>
          </a:lnRef>
          <a:fillRef idx="0">
            <a:schemeClr val="accent1"/>
          </a:fillRef>
          <a:effectRef idx="0">
            <a:schemeClr val="accent1"/>
          </a:effectRef>
          <a:fontRef idx="minor">
            <a:schemeClr val="tx1"/>
          </a:fontRef>
        </p:style>
      </p:cxnSp>
      <p:sp>
        <p:nvSpPr>
          <p:cNvPr id="18" name="Footer Placeholder 39"/>
          <p:cNvSpPr txBox="1">
            <a:spLocks/>
          </p:cNvSpPr>
          <p:nvPr userDrawn="1"/>
        </p:nvSpPr>
        <p:spPr>
          <a:xfrm>
            <a:off x="480000" y="336000"/>
            <a:ext cx="7536213" cy="596723"/>
          </a:xfrm>
          <a:prstGeom prst="rect">
            <a:avLst/>
          </a:prstGeom>
        </p:spPr>
        <p:txBody>
          <a:bodyPr lIns="0"/>
          <a:lstStyle>
            <a:defPPr>
              <a:defRPr lang="en-US"/>
            </a:defPPr>
            <a:lvl1pPr algn="l" rtl="0" fontAlgn="auto">
              <a:spcBef>
                <a:spcPts val="0"/>
              </a:spcBef>
              <a:spcAft>
                <a:spcPts val="0"/>
              </a:spcAft>
              <a:defRPr sz="1100" b="0" i="0" kern="1200" dirty="0" err="1" smtClean="0">
                <a:solidFill>
                  <a:schemeClr val="bg1"/>
                </a:solidFill>
                <a:latin typeface="Montserrat Medium"/>
                <a:ea typeface="+mn-ea"/>
                <a:cs typeface="Montserrat Medium"/>
              </a:defRPr>
            </a:lvl1pPr>
            <a:lvl2pPr marL="4572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5pPr>
            <a:lvl6pPr marL="2286000" algn="l" defTabSz="457200" rtl="0" eaLnBrk="1" latinLnBrk="0" hangingPunct="1">
              <a:defRPr kern="1200">
                <a:solidFill>
                  <a:schemeClr val="tx1"/>
                </a:solidFill>
                <a:latin typeface="Montserrat Light" charset="0"/>
                <a:ea typeface="ＭＳ Ｐゴシック" charset="0"/>
                <a:cs typeface="ＭＳ Ｐゴシック" charset="0"/>
              </a:defRPr>
            </a:lvl6pPr>
            <a:lvl7pPr marL="2743200" algn="l" defTabSz="457200" rtl="0" eaLnBrk="1" latinLnBrk="0" hangingPunct="1">
              <a:defRPr kern="1200">
                <a:solidFill>
                  <a:schemeClr val="tx1"/>
                </a:solidFill>
                <a:latin typeface="Montserrat Light" charset="0"/>
                <a:ea typeface="ＭＳ Ｐゴシック" charset="0"/>
                <a:cs typeface="ＭＳ Ｐゴシック" charset="0"/>
              </a:defRPr>
            </a:lvl7pPr>
            <a:lvl8pPr marL="3200400" algn="l" defTabSz="457200" rtl="0" eaLnBrk="1" latinLnBrk="0" hangingPunct="1">
              <a:defRPr kern="1200">
                <a:solidFill>
                  <a:schemeClr val="tx1"/>
                </a:solidFill>
                <a:latin typeface="Montserrat Light" charset="0"/>
                <a:ea typeface="ＭＳ Ｐゴシック" charset="0"/>
                <a:cs typeface="ＭＳ Ｐゴシック" charset="0"/>
              </a:defRPr>
            </a:lvl8pPr>
            <a:lvl9pPr marL="3657600" algn="l" defTabSz="457200" rtl="0" eaLnBrk="1" latinLnBrk="0" hangingPunct="1">
              <a:defRPr kern="1200">
                <a:solidFill>
                  <a:schemeClr val="tx1"/>
                </a:solidFill>
                <a:latin typeface="Montserrat Light" charset="0"/>
                <a:ea typeface="ＭＳ Ｐゴシック" charset="0"/>
                <a:cs typeface="ＭＳ Ｐゴシック" charset="0"/>
              </a:defRPr>
            </a:lvl9pPr>
          </a:lstStyle>
          <a:p>
            <a:pPr>
              <a:defRPr/>
            </a:pPr>
            <a:r>
              <a:rPr lang="en-AU" sz="2667" b="1" i="0" spc="0" dirty="0">
                <a:solidFill>
                  <a:srgbClr val="191A33"/>
                </a:solidFill>
                <a:latin typeface="Arial" charset="0"/>
                <a:ea typeface="Arial" charset="0"/>
                <a:cs typeface="Arial" charset="0"/>
              </a:rPr>
              <a:t>Main Heading</a:t>
            </a:r>
          </a:p>
        </p:txBody>
      </p:sp>
      <p:sp>
        <p:nvSpPr>
          <p:cNvPr id="3" name="TextBox 2"/>
          <p:cNvSpPr txBox="1"/>
          <p:nvPr userDrawn="1"/>
        </p:nvSpPr>
        <p:spPr>
          <a:xfrm>
            <a:off x="480000" y="1124744"/>
            <a:ext cx="11088608" cy="5016566"/>
          </a:xfrm>
          <a:prstGeom prst="rect">
            <a:avLst/>
          </a:prstGeom>
          <a:noFill/>
        </p:spPr>
        <p:txBody>
          <a:bodyPr wrap="square" rtlCol="0">
            <a:spAutoFit/>
          </a:bodyPr>
          <a:lstStyle/>
          <a:p>
            <a:pPr marL="0" marR="0" indent="0" algn="l" defTabSz="1219170" rtl="0" eaLnBrk="1" fontAlgn="base" latinLnBrk="0" hangingPunct="1">
              <a:lnSpc>
                <a:spcPct val="100000"/>
              </a:lnSpc>
              <a:spcBef>
                <a:spcPct val="0"/>
              </a:spcBef>
              <a:spcAft>
                <a:spcPct val="0"/>
              </a:spcAft>
              <a:buClrTx/>
              <a:buSzTx/>
              <a:buFontTx/>
              <a:buNone/>
              <a:tabLst/>
              <a:defRPr/>
            </a:pPr>
            <a:r>
              <a:rPr lang="en-GB" sz="5333" b="0" i="0" u="none" strike="noStrike" kern="1200" baseline="30000" dirty="0">
                <a:solidFill>
                  <a:schemeClr val="tx1"/>
                </a:solidFill>
                <a:latin typeface="Arial" charset="0"/>
                <a:ea typeface="Arial" charset="0"/>
                <a:cs typeface="Arial" charset="0"/>
              </a:rPr>
              <a:t>Grants and subsidies continued to support the early childhood and non-government school sector, as outlined at Note 2d. The Department of Education provides, funds and regulates education services for NSW students from early childhood to secondary school. We regulate and support the early childhood education sector. We deliver a world-class education to more than 781,000 students each year.</a:t>
            </a:r>
          </a:p>
          <a:p>
            <a:pPr marL="0" marR="0" indent="0" algn="l" defTabSz="1219170" rtl="0" eaLnBrk="1" fontAlgn="base" latinLnBrk="0" hangingPunct="1">
              <a:lnSpc>
                <a:spcPct val="100000"/>
              </a:lnSpc>
              <a:spcBef>
                <a:spcPct val="0"/>
              </a:spcBef>
              <a:spcAft>
                <a:spcPct val="0"/>
              </a:spcAft>
              <a:buClrTx/>
              <a:buSzTx/>
              <a:buFontTx/>
              <a:buNone/>
              <a:tabLst/>
              <a:defRPr/>
            </a:pPr>
            <a:endParaRPr lang="en-GB" sz="5333" b="0" i="0" u="none" strike="noStrike" kern="1200" baseline="30000" dirty="0">
              <a:solidFill>
                <a:schemeClr val="tx1"/>
              </a:solidFill>
              <a:latin typeface="Arial" charset="0"/>
              <a:ea typeface="Arial" charset="0"/>
              <a:cs typeface="Arial" charset="0"/>
            </a:endParaRPr>
          </a:p>
        </p:txBody>
      </p:sp>
    </p:spTree>
    <p:extLst>
      <p:ext uri="{BB962C8B-B14F-4D97-AF65-F5344CB8AC3E}">
        <p14:creationId xmlns:p14="http://schemas.microsoft.com/office/powerpoint/2010/main" val="7358129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_Presentation slide 1 full column">
    <p:spTree>
      <p:nvGrpSpPr>
        <p:cNvPr id="1" name=""/>
        <p:cNvGrpSpPr/>
        <p:nvPr/>
      </p:nvGrpSpPr>
      <p:grpSpPr>
        <a:xfrm>
          <a:off x="0" y="0"/>
          <a:ext cx="0" cy="0"/>
          <a:chOff x="0" y="0"/>
          <a:chExt cx="0" cy="0"/>
        </a:xfrm>
      </p:grpSpPr>
      <p:pic>
        <p:nvPicPr>
          <p:cNvPr id="8" name="Picture 7" descr="15091-02b- ParramattaSchool VIEW04 HighSchool Street -01.jp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8872" y="0"/>
            <a:ext cx="12240683" cy="6885384"/>
          </a:xfrm>
          <a:prstGeom prst="rect">
            <a:avLst/>
          </a:prstGeom>
        </p:spPr>
      </p:pic>
      <p:pic>
        <p:nvPicPr>
          <p:cNvPr id="15" name="Picture 14"/>
          <p:cNvPicPr>
            <a:picLocks noChangeAspect="1"/>
          </p:cNvPicPr>
          <p:nvPr userDrawn="1"/>
        </p:nvPicPr>
        <p:blipFill>
          <a:blip r:embed="rId3" cstate="email">
            <a:alphaModFix amt="25000"/>
            <a:extLst>
              <a:ext uri="{28A0092B-C50C-407E-A947-70E740481C1C}">
                <a14:useLocalDpi xmlns:a14="http://schemas.microsoft.com/office/drawing/2010/main" val="0"/>
              </a:ext>
            </a:extLst>
          </a:blip>
          <a:stretch>
            <a:fillRect/>
          </a:stretch>
        </p:blipFill>
        <p:spPr>
          <a:xfrm>
            <a:off x="-18663" y="2637"/>
            <a:ext cx="12240683" cy="8812585"/>
          </a:xfrm>
          <a:prstGeom prst="rect">
            <a:avLst/>
          </a:prstGeom>
        </p:spPr>
      </p:pic>
      <p:sp>
        <p:nvSpPr>
          <p:cNvPr id="11" name="Footer Placeholder 39"/>
          <p:cNvSpPr>
            <a:spLocks noGrp="1"/>
          </p:cNvSpPr>
          <p:nvPr>
            <p:ph type="ftr" sz="quarter" idx="13"/>
          </p:nvPr>
        </p:nvSpPr>
        <p:spPr>
          <a:xfrm>
            <a:off x="335360" y="6329296"/>
            <a:ext cx="3649133" cy="364067"/>
          </a:xfrm>
          <a:prstGeom prst="rect">
            <a:avLst/>
          </a:prstGeom>
        </p:spPr>
        <p:txBody>
          <a:bodyPr/>
          <a:lstStyle>
            <a:lvl1pPr>
              <a:defRPr sz="1333" b="0" i="0" dirty="0" err="1">
                <a:solidFill>
                  <a:schemeClr val="bg1"/>
                </a:solidFill>
                <a:latin typeface="Arial" charset="0"/>
                <a:ea typeface="Arial" charset="0"/>
                <a:cs typeface="Arial" charset="0"/>
              </a:defRPr>
            </a:lvl1pPr>
          </a:lstStyle>
          <a:p>
            <a:pPr>
              <a:defRPr/>
            </a:pPr>
            <a:r>
              <a:rPr lang="en-AU" dirty="0"/>
              <a:t>Presentation Name</a:t>
            </a:r>
          </a:p>
        </p:txBody>
      </p:sp>
      <p:sp>
        <p:nvSpPr>
          <p:cNvPr id="12" name="Footer Placeholder 39"/>
          <p:cNvSpPr txBox="1">
            <a:spLocks/>
          </p:cNvSpPr>
          <p:nvPr userDrawn="1"/>
        </p:nvSpPr>
        <p:spPr>
          <a:xfrm>
            <a:off x="8688288" y="6329296"/>
            <a:ext cx="3168352" cy="364067"/>
          </a:xfrm>
          <a:prstGeom prst="rect">
            <a:avLst/>
          </a:prstGeom>
        </p:spPr>
        <p:txBody>
          <a:bodyPr lIns="0" anchor="b"/>
          <a:lstStyle>
            <a:defPPr>
              <a:defRPr lang="en-US"/>
            </a:defPPr>
            <a:lvl1pPr algn="l" rtl="0" fontAlgn="auto">
              <a:spcBef>
                <a:spcPts val="0"/>
              </a:spcBef>
              <a:spcAft>
                <a:spcPts val="0"/>
              </a:spcAft>
              <a:defRPr sz="1000" b="0" i="0" kern="1200" dirty="0" err="1">
                <a:solidFill>
                  <a:schemeClr val="bg1"/>
                </a:solidFill>
                <a:latin typeface="Arial" charset="0"/>
                <a:ea typeface="Arial" charset="0"/>
                <a:cs typeface="Arial" charset="0"/>
              </a:defRPr>
            </a:lvl1pPr>
            <a:lvl2pPr marL="4572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5pPr>
            <a:lvl6pPr marL="2286000" algn="l" defTabSz="457200" rtl="0" eaLnBrk="1" latinLnBrk="0" hangingPunct="1">
              <a:defRPr kern="1200">
                <a:solidFill>
                  <a:schemeClr val="tx1"/>
                </a:solidFill>
                <a:latin typeface="Montserrat Light" charset="0"/>
                <a:ea typeface="ＭＳ Ｐゴシック" charset="0"/>
                <a:cs typeface="ＭＳ Ｐゴシック" charset="0"/>
              </a:defRPr>
            </a:lvl6pPr>
            <a:lvl7pPr marL="2743200" algn="l" defTabSz="457200" rtl="0" eaLnBrk="1" latinLnBrk="0" hangingPunct="1">
              <a:defRPr kern="1200">
                <a:solidFill>
                  <a:schemeClr val="tx1"/>
                </a:solidFill>
                <a:latin typeface="Montserrat Light" charset="0"/>
                <a:ea typeface="ＭＳ Ｐゴシック" charset="0"/>
                <a:cs typeface="ＭＳ Ｐゴシック" charset="0"/>
              </a:defRPr>
            </a:lvl7pPr>
            <a:lvl8pPr marL="3200400" algn="l" defTabSz="457200" rtl="0" eaLnBrk="1" latinLnBrk="0" hangingPunct="1">
              <a:defRPr kern="1200">
                <a:solidFill>
                  <a:schemeClr val="tx1"/>
                </a:solidFill>
                <a:latin typeface="Montserrat Light" charset="0"/>
                <a:ea typeface="ＭＳ Ｐゴシック" charset="0"/>
                <a:cs typeface="ＭＳ Ｐゴシック" charset="0"/>
              </a:defRPr>
            </a:lvl8pPr>
            <a:lvl9pPr marL="3657600" algn="l" defTabSz="457200" rtl="0" eaLnBrk="1" latinLnBrk="0" hangingPunct="1">
              <a:defRPr kern="1200">
                <a:solidFill>
                  <a:schemeClr val="tx1"/>
                </a:solidFill>
                <a:latin typeface="Montserrat Light" charset="0"/>
                <a:ea typeface="ＭＳ Ｐゴシック" charset="0"/>
                <a:cs typeface="ＭＳ Ｐゴシック" charset="0"/>
              </a:defRPr>
            </a:lvl9pPr>
          </a:lstStyle>
          <a:p>
            <a:pPr algn="r">
              <a:defRPr/>
            </a:pPr>
            <a:r>
              <a:rPr lang="en-AU" sz="1333" dirty="0"/>
              <a:t>7</a:t>
            </a:r>
          </a:p>
        </p:txBody>
      </p:sp>
      <p:cxnSp>
        <p:nvCxnSpPr>
          <p:cNvPr id="13" name="Straight Connector 12"/>
          <p:cNvCxnSpPr/>
          <p:nvPr userDrawn="1"/>
        </p:nvCxnSpPr>
        <p:spPr>
          <a:xfrm>
            <a:off x="480000" y="6309320"/>
            <a:ext cx="112806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Footer Placeholder 39"/>
          <p:cNvSpPr txBox="1">
            <a:spLocks/>
          </p:cNvSpPr>
          <p:nvPr userDrawn="1"/>
        </p:nvSpPr>
        <p:spPr>
          <a:xfrm>
            <a:off x="480000" y="336000"/>
            <a:ext cx="7536213" cy="596723"/>
          </a:xfrm>
          <a:prstGeom prst="rect">
            <a:avLst/>
          </a:prstGeom>
        </p:spPr>
        <p:txBody>
          <a:bodyPr lIns="0"/>
          <a:lstStyle>
            <a:defPPr>
              <a:defRPr lang="en-US"/>
            </a:defPPr>
            <a:lvl1pPr algn="l" rtl="0" fontAlgn="auto">
              <a:spcBef>
                <a:spcPts val="0"/>
              </a:spcBef>
              <a:spcAft>
                <a:spcPts val="0"/>
              </a:spcAft>
              <a:defRPr sz="1100" b="0" i="0" kern="1200" dirty="0" err="1" smtClean="0">
                <a:solidFill>
                  <a:schemeClr val="bg1"/>
                </a:solidFill>
                <a:latin typeface="Montserrat Medium"/>
                <a:ea typeface="+mn-ea"/>
                <a:cs typeface="Montserrat Medium"/>
              </a:defRPr>
            </a:lvl1pPr>
            <a:lvl2pPr marL="4572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Montserrat Light" charset="0"/>
                <a:ea typeface="ＭＳ Ｐゴシック" charset="0"/>
                <a:cs typeface="ＭＳ Ｐゴシック" charset="0"/>
              </a:defRPr>
            </a:lvl5pPr>
            <a:lvl6pPr marL="2286000" algn="l" defTabSz="457200" rtl="0" eaLnBrk="1" latinLnBrk="0" hangingPunct="1">
              <a:defRPr kern="1200">
                <a:solidFill>
                  <a:schemeClr val="tx1"/>
                </a:solidFill>
                <a:latin typeface="Montserrat Light" charset="0"/>
                <a:ea typeface="ＭＳ Ｐゴシック" charset="0"/>
                <a:cs typeface="ＭＳ Ｐゴシック" charset="0"/>
              </a:defRPr>
            </a:lvl6pPr>
            <a:lvl7pPr marL="2743200" algn="l" defTabSz="457200" rtl="0" eaLnBrk="1" latinLnBrk="0" hangingPunct="1">
              <a:defRPr kern="1200">
                <a:solidFill>
                  <a:schemeClr val="tx1"/>
                </a:solidFill>
                <a:latin typeface="Montserrat Light" charset="0"/>
                <a:ea typeface="ＭＳ Ｐゴシック" charset="0"/>
                <a:cs typeface="ＭＳ Ｐゴシック" charset="0"/>
              </a:defRPr>
            </a:lvl7pPr>
            <a:lvl8pPr marL="3200400" algn="l" defTabSz="457200" rtl="0" eaLnBrk="1" latinLnBrk="0" hangingPunct="1">
              <a:defRPr kern="1200">
                <a:solidFill>
                  <a:schemeClr val="tx1"/>
                </a:solidFill>
                <a:latin typeface="Montserrat Light" charset="0"/>
                <a:ea typeface="ＭＳ Ｐゴシック" charset="0"/>
                <a:cs typeface="ＭＳ Ｐゴシック" charset="0"/>
              </a:defRPr>
            </a:lvl8pPr>
            <a:lvl9pPr marL="3657600" algn="l" defTabSz="457200" rtl="0" eaLnBrk="1" latinLnBrk="0" hangingPunct="1">
              <a:defRPr kern="1200">
                <a:solidFill>
                  <a:schemeClr val="tx1"/>
                </a:solidFill>
                <a:latin typeface="Montserrat Light" charset="0"/>
                <a:ea typeface="ＭＳ Ｐゴシック" charset="0"/>
                <a:cs typeface="ＭＳ Ｐゴシック" charset="0"/>
              </a:defRPr>
            </a:lvl9pPr>
          </a:lstStyle>
          <a:p>
            <a:pPr>
              <a:defRPr/>
            </a:pPr>
            <a:r>
              <a:rPr lang="en-AU" sz="2667" b="1" i="0" spc="0" dirty="0">
                <a:solidFill>
                  <a:schemeClr val="bg1"/>
                </a:solidFill>
                <a:latin typeface="Arial" charset="0"/>
                <a:ea typeface="Arial" charset="0"/>
                <a:cs typeface="Arial" charset="0"/>
              </a:rPr>
              <a:t>Main Heading</a:t>
            </a:r>
          </a:p>
        </p:txBody>
      </p:sp>
    </p:spTree>
    <p:extLst>
      <p:ext uri="{BB962C8B-B14F-4D97-AF65-F5344CB8AC3E}">
        <p14:creationId xmlns:p14="http://schemas.microsoft.com/office/powerpoint/2010/main" val="14032774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cxnSp>
        <p:nvCxnSpPr>
          <p:cNvPr id="50" name="Straight Connector 49"/>
          <p:cNvCxnSpPr/>
          <p:nvPr userDrawn="1"/>
        </p:nvCxnSpPr>
        <p:spPr>
          <a:xfrm>
            <a:off x="527381" y="1316765"/>
            <a:ext cx="11041227"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527381" y="654249"/>
            <a:ext cx="10515600" cy="662517"/>
          </a:xfrm>
          <a:prstGeom prst="rect">
            <a:avLst/>
          </a:prstGeom>
        </p:spPr>
        <p:txBody>
          <a:bodyPr/>
          <a:lstStyle>
            <a:lvl1pPr>
              <a:defRPr>
                <a:solidFill>
                  <a:schemeClr val="accent5">
                    <a:lumMod val="75000"/>
                  </a:schemeClr>
                </a:solidFill>
              </a:defRPr>
            </a:lvl1pPr>
          </a:lstStyle>
          <a:p>
            <a:r>
              <a:rPr lang="en-US"/>
              <a:t>Click to edit Master title style</a:t>
            </a:r>
            <a:endParaRPr lang="en-AU"/>
          </a:p>
        </p:txBody>
      </p:sp>
    </p:spTree>
    <p:extLst>
      <p:ext uri="{BB962C8B-B14F-4D97-AF65-F5344CB8AC3E}">
        <p14:creationId xmlns:p14="http://schemas.microsoft.com/office/powerpoint/2010/main" val="2911145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22350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0396337"/>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Lst>
  <p:hf hdr="0"/>
  <p:txStyles>
    <p:titleStyle>
      <a:lvl1pPr algn="l" rtl="0" eaLnBrk="0" fontAlgn="base" hangingPunct="0">
        <a:spcBef>
          <a:spcPct val="0"/>
        </a:spcBef>
        <a:spcAft>
          <a:spcPct val="0"/>
        </a:spcAft>
        <a:defRPr sz="3200" b="0" i="0" kern="1200" cap="none">
          <a:solidFill>
            <a:schemeClr val="tx1"/>
          </a:solidFill>
          <a:latin typeface="Montserrat Medium"/>
          <a:ea typeface="ＭＳ Ｐゴシック" charset="0"/>
          <a:cs typeface="Montserrat Medium"/>
        </a:defRPr>
      </a:lvl1pPr>
      <a:lvl2pPr algn="l" rtl="0" eaLnBrk="0" fontAlgn="base" hangingPunct="0">
        <a:spcBef>
          <a:spcPct val="0"/>
        </a:spcBef>
        <a:spcAft>
          <a:spcPct val="0"/>
        </a:spcAft>
        <a:defRPr sz="3200">
          <a:solidFill>
            <a:schemeClr val="tx2"/>
          </a:solidFill>
          <a:latin typeface="Montserrat" charset="0"/>
          <a:ea typeface="ＭＳ Ｐゴシック" charset="0"/>
          <a:cs typeface="ＭＳ Ｐゴシック" charset="0"/>
        </a:defRPr>
      </a:lvl2pPr>
      <a:lvl3pPr algn="l" rtl="0" eaLnBrk="0" fontAlgn="base" hangingPunct="0">
        <a:spcBef>
          <a:spcPct val="0"/>
        </a:spcBef>
        <a:spcAft>
          <a:spcPct val="0"/>
        </a:spcAft>
        <a:defRPr sz="3200">
          <a:solidFill>
            <a:schemeClr val="tx2"/>
          </a:solidFill>
          <a:latin typeface="Montserrat" charset="0"/>
          <a:ea typeface="ＭＳ Ｐゴシック" charset="0"/>
          <a:cs typeface="ＭＳ Ｐゴシック" charset="0"/>
        </a:defRPr>
      </a:lvl3pPr>
      <a:lvl4pPr algn="l" rtl="0" eaLnBrk="0" fontAlgn="base" hangingPunct="0">
        <a:spcBef>
          <a:spcPct val="0"/>
        </a:spcBef>
        <a:spcAft>
          <a:spcPct val="0"/>
        </a:spcAft>
        <a:defRPr sz="3200">
          <a:solidFill>
            <a:schemeClr val="tx2"/>
          </a:solidFill>
          <a:latin typeface="Montserrat" charset="0"/>
          <a:ea typeface="ＭＳ Ｐゴシック" charset="0"/>
          <a:cs typeface="ＭＳ Ｐゴシック" charset="0"/>
        </a:defRPr>
      </a:lvl4pPr>
      <a:lvl5pPr algn="l" rtl="0" eaLnBrk="0" fontAlgn="base" hangingPunct="0">
        <a:spcBef>
          <a:spcPct val="0"/>
        </a:spcBef>
        <a:spcAft>
          <a:spcPct val="0"/>
        </a:spcAft>
        <a:defRPr sz="3200">
          <a:solidFill>
            <a:schemeClr val="tx2"/>
          </a:solidFill>
          <a:latin typeface="Montserrat" charset="0"/>
          <a:ea typeface="ＭＳ Ｐゴシック" charset="0"/>
          <a:cs typeface="ＭＳ Ｐゴシック" charset="0"/>
        </a:defRPr>
      </a:lvl5pPr>
      <a:lvl6pPr marL="609585" algn="l" rtl="0" fontAlgn="base">
        <a:spcBef>
          <a:spcPct val="0"/>
        </a:spcBef>
        <a:spcAft>
          <a:spcPct val="0"/>
        </a:spcAft>
        <a:defRPr sz="3200">
          <a:solidFill>
            <a:schemeClr val="tx2"/>
          </a:solidFill>
          <a:latin typeface="Montserrat" charset="0"/>
          <a:ea typeface="ＭＳ Ｐゴシック" charset="0"/>
          <a:cs typeface="ＭＳ Ｐゴシック" charset="0"/>
        </a:defRPr>
      </a:lvl6pPr>
      <a:lvl7pPr marL="1219170" algn="l" rtl="0" fontAlgn="base">
        <a:spcBef>
          <a:spcPct val="0"/>
        </a:spcBef>
        <a:spcAft>
          <a:spcPct val="0"/>
        </a:spcAft>
        <a:defRPr sz="3200">
          <a:solidFill>
            <a:schemeClr val="tx2"/>
          </a:solidFill>
          <a:latin typeface="Montserrat" charset="0"/>
          <a:ea typeface="ＭＳ Ｐゴシック" charset="0"/>
          <a:cs typeface="ＭＳ Ｐゴシック" charset="0"/>
        </a:defRPr>
      </a:lvl7pPr>
      <a:lvl8pPr marL="1828754" algn="l" rtl="0" fontAlgn="base">
        <a:spcBef>
          <a:spcPct val="0"/>
        </a:spcBef>
        <a:spcAft>
          <a:spcPct val="0"/>
        </a:spcAft>
        <a:defRPr sz="3200">
          <a:solidFill>
            <a:schemeClr val="tx2"/>
          </a:solidFill>
          <a:latin typeface="Montserrat" charset="0"/>
          <a:ea typeface="ＭＳ Ｐゴシック" charset="0"/>
          <a:cs typeface="ＭＳ Ｐゴシック" charset="0"/>
        </a:defRPr>
      </a:lvl8pPr>
      <a:lvl9pPr marL="2438339" algn="l" rtl="0" fontAlgn="base">
        <a:spcBef>
          <a:spcPct val="0"/>
        </a:spcBef>
        <a:spcAft>
          <a:spcPct val="0"/>
        </a:spcAft>
        <a:defRPr sz="3200">
          <a:solidFill>
            <a:schemeClr val="tx2"/>
          </a:solidFill>
          <a:latin typeface="Montserrat" charset="0"/>
          <a:ea typeface="ＭＳ Ｐゴシック" charset="0"/>
          <a:cs typeface="ＭＳ Ｐゴシック" charset="0"/>
        </a:defRPr>
      </a:lvl9pPr>
    </p:titleStyle>
    <p:bodyStyle>
      <a:lvl1pPr marL="457189" indent="-457189" algn="l" rtl="0" eaLnBrk="0" fontAlgn="base" hangingPunct="0">
        <a:spcBef>
          <a:spcPts val="1600"/>
        </a:spcBef>
        <a:spcAft>
          <a:spcPct val="0"/>
        </a:spcAft>
        <a:buFont typeface="Arial" charset="0"/>
        <a:defRPr sz="1467" kern="1200">
          <a:solidFill>
            <a:schemeClr val="tx1"/>
          </a:solidFill>
          <a:latin typeface="+mj-lt"/>
          <a:ea typeface="ＭＳ Ｐゴシック" charset="0"/>
          <a:cs typeface="ＭＳ Ｐゴシック" charset="0"/>
        </a:defRPr>
      </a:lvl1pPr>
      <a:lvl2pPr marL="990575" indent="-380990" algn="l" rtl="0" eaLnBrk="0" fontAlgn="base" hangingPunct="0">
        <a:spcBef>
          <a:spcPts val="800"/>
        </a:spcBef>
        <a:spcAft>
          <a:spcPct val="0"/>
        </a:spcAft>
        <a:buFont typeface="Arial" charset="0"/>
        <a:defRPr sz="1333" kern="1200">
          <a:solidFill>
            <a:schemeClr val="tx1"/>
          </a:solidFill>
          <a:latin typeface="+mn-lt"/>
          <a:ea typeface="ＭＳ Ｐゴシック" charset="0"/>
          <a:cs typeface="+mn-cs"/>
        </a:defRPr>
      </a:lvl2pPr>
      <a:lvl3pPr marL="241294" indent="-241294" algn="l" rtl="0" eaLnBrk="0" fontAlgn="base" hangingPunct="0">
        <a:spcBef>
          <a:spcPts val="800"/>
        </a:spcBef>
        <a:spcAft>
          <a:spcPct val="0"/>
        </a:spcAft>
        <a:buFont typeface="Wingdings" charset="0"/>
        <a:buChar char="§"/>
        <a:defRPr sz="1333" kern="1200">
          <a:solidFill>
            <a:schemeClr val="tx1"/>
          </a:solidFill>
          <a:latin typeface="+mn-lt"/>
          <a:ea typeface="ＭＳ Ｐゴシック" charset="0"/>
          <a:cs typeface="+mn-cs"/>
        </a:defRPr>
      </a:lvl3pPr>
      <a:lvl4pPr marL="476239" indent="-234945" algn="l" rtl="0" eaLnBrk="0" fontAlgn="base" hangingPunct="0">
        <a:spcBef>
          <a:spcPct val="20000"/>
        </a:spcBef>
        <a:spcAft>
          <a:spcPct val="0"/>
        </a:spcAft>
        <a:buFont typeface="Arial" charset="0"/>
        <a:buChar char="–"/>
        <a:defRPr sz="1200" kern="1200">
          <a:solidFill>
            <a:schemeClr val="tx1"/>
          </a:solidFill>
          <a:latin typeface="+mn-lt"/>
          <a:ea typeface="ＭＳ Ｐゴシック" charset="0"/>
          <a:cs typeface="+mn-cs"/>
        </a:defRPr>
      </a:lvl4pPr>
      <a:lvl5pPr marL="717533" indent="-241294" algn="l" rtl="0" eaLnBrk="0" fontAlgn="base" hangingPunct="0">
        <a:spcBef>
          <a:spcPct val="20000"/>
        </a:spcBef>
        <a:spcAft>
          <a:spcPct val="0"/>
        </a:spcAft>
        <a:buFont typeface="Courier New" charset="0"/>
        <a:buChar char="o"/>
        <a:defRPr sz="1200" kern="1200">
          <a:solidFill>
            <a:schemeClr val="tx1"/>
          </a:solidFill>
          <a:latin typeface="+mn-lt"/>
          <a:ea typeface="ＭＳ Ｐゴシック" charset="0"/>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image" Target="../media/image6.emf"/><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oleObject" Target="../embeddings/oleObject7.bin"/><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tags" Target="../tags/tag16.xml"/><Relationship Id="rId11" Type="http://schemas.openxmlformats.org/officeDocument/2006/relationships/slideLayout" Target="../slideLayouts/slideLayout11.xml"/><Relationship Id="rId5" Type="http://schemas.openxmlformats.org/officeDocument/2006/relationships/tags" Target="../tags/tag15.xml"/><Relationship Id="rId10" Type="http://schemas.openxmlformats.org/officeDocument/2006/relationships/tags" Target="../tags/tag20.xml"/><Relationship Id="rId4" Type="http://schemas.openxmlformats.org/officeDocument/2006/relationships/tags" Target="../tags/tag14.xml"/><Relationship Id="rId9" Type="http://schemas.openxmlformats.org/officeDocument/2006/relationships/tags" Target="../tags/tag1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Layout" Target="../slideLayouts/slideLayout8.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 Id="rId9" Type="http://schemas.openxmlformats.org/officeDocument/2006/relationships/image" Target="../media/image14.png"/></Relationships>
</file>

<file path=ppt/slides/_rels/slide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15.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xml"/><Relationship Id="rId4"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15.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2.xml"/><Relationship Id="rId4"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9.xml"/><Relationship Id="rId7" Type="http://schemas.openxmlformats.org/officeDocument/2006/relationships/image" Target="../media/image16.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5.emf"/><Relationship Id="rId5" Type="http://schemas.openxmlformats.org/officeDocument/2006/relationships/oleObject" Target="../embeddings/oleObject4.bin"/><Relationship Id="rId4"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tiff"/><Relationship Id="rId1" Type="http://schemas.openxmlformats.org/officeDocument/2006/relationships/slideLayout" Target="../slideLayouts/slideLayout8.xml"/><Relationship Id="rId4" Type="http://schemas.openxmlformats.org/officeDocument/2006/relationships/image" Target="../media/image20.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oleObject" Target="../embeddings/oleObject6.bin"/><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20000" y="2660916"/>
            <a:ext cx="7488235" cy="1353145"/>
          </a:xfrm>
        </p:spPr>
        <p:txBody>
          <a:bodyPr/>
          <a:lstStyle/>
          <a:p>
            <a:r>
              <a:rPr lang="en-US" dirty="0" smtClean="0"/>
              <a:t>Supporting our schools</a:t>
            </a:r>
            <a:endParaRPr lang="en-US" dirty="0"/>
          </a:p>
        </p:txBody>
      </p:sp>
      <p:sp>
        <p:nvSpPr>
          <p:cNvPr id="4" name="Text Placeholder 3"/>
          <p:cNvSpPr>
            <a:spLocks noGrp="1"/>
          </p:cNvSpPr>
          <p:nvPr>
            <p:ph type="body" sz="quarter" idx="12"/>
          </p:nvPr>
        </p:nvSpPr>
        <p:spPr/>
        <p:txBody>
          <a:bodyPr/>
          <a:lstStyle/>
          <a:p>
            <a:pPr lvl="0"/>
            <a:r>
              <a:rPr lang="en-AU" dirty="0" smtClean="0"/>
              <a:t>Delivery Unit Update</a:t>
            </a:r>
            <a:endParaRPr lang="en-AU" dirty="0"/>
          </a:p>
          <a:p>
            <a:pPr lvl="2"/>
            <a:endParaRPr lang="en-AU" dirty="0"/>
          </a:p>
        </p:txBody>
      </p:sp>
      <p:sp>
        <p:nvSpPr>
          <p:cNvPr id="5" name="Footer Placeholder 4"/>
          <p:cNvSpPr>
            <a:spLocks noGrp="1"/>
          </p:cNvSpPr>
          <p:nvPr>
            <p:ph type="ftr" sz="quarter" idx="13"/>
          </p:nvPr>
        </p:nvSpPr>
        <p:spPr/>
        <p:txBody>
          <a:bodyPr/>
          <a:lstStyle/>
          <a:p>
            <a:pPr defTabSz="1219170" fontAlgn="base">
              <a:spcBef>
                <a:spcPct val="0"/>
              </a:spcBef>
              <a:spcAft>
                <a:spcPct val="0"/>
              </a:spcAft>
              <a:defRPr/>
            </a:pPr>
            <a:r>
              <a:rPr lang="en-AU" dirty="0">
                <a:solidFill>
                  <a:prstClr val="white"/>
                </a:solidFill>
              </a:rPr>
              <a:t>education.nsw.gov.au</a:t>
            </a:r>
          </a:p>
        </p:txBody>
      </p:sp>
    </p:spTree>
    <p:extLst>
      <p:ext uri="{BB962C8B-B14F-4D97-AF65-F5344CB8AC3E}">
        <p14:creationId xmlns:p14="http://schemas.microsoft.com/office/powerpoint/2010/main" val="162136062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we are developing the strategy</a:t>
            </a:r>
            <a:endParaRPr lang="en-US" dirty="0"/>
          </a:p>
        </p:txBody>
      </p:sp>
      <p:graphicFrame>
        <p:nvGraphicFramePr>
          <p:cNvPr id="3" name="Object 2" hidden="1"/>
          <p:cNvGraphicFramePr>
            <a:graphicFrameLocks noChangeAspect="1"/>
          </p:cNvGraphicFramePr>
          <p:nvPr>
            <p:custDataLst>
              <p:tags r:id="rId2"/>
            </p:custDataLst>
            <p:ext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spid="_x0000_s27657" name="think-cell Slide" r:id="rId12" imgW="352" imgH="355" progId="TCLayout.ActiveDocument.1">
                  <p:embed/>
                </p:oleObj>
              </mc:Choice>
              <mc:Fallback>
                <p:oleObj name="think-cell Slide" r:id="rId12" imgW="352" imgH="355" progId="TCLayout.ActiveDocument.1">
                  <p:embed/>
                  <p:pic>
                    <p:nvPicPr>
                      <p:cNvPr id="3" name="Object 2" hidden="1"/>
                      <p:cNvPicPr/>
                      <p:nvPr/>
                    </p:nvPicPr>
                    <p:blipFill>
                      <a:blip r:embed="rId13"/>
                      <a:stretch>
                        <a:fillRect/>
                      </a:stretch>
                    </p:blipFill>
                    <p:spPr>
                      <a:xfrm>
                        <a:off x="1144589" y="1589"/>
                        <a:ext cx="1587" cy="1587"/>
                      </a:xfrm>
                      <a:prstGeom prst="rect">
                        <a:avLst/>
                      </a:prstGeom>
                    </p:spPr>
                  </p:pic>
                </p:oleObj>
              </mc:Fallback>
            </mc:AlternateContent>
          </a:graphicData>
        </a:graphic>
      </p:graphicFrame>
      <p:sp>
        <p:nvSpPr>
          <p:cNvPr id="4" name="ee4pHeader1"/>
          <p:cNvSpPr>
            <a:spLocks noChangeArrowheads="1"/>
          </p:cNvSpPr>
          <p:nvPr>
            <p:custDataLst>
              <p:tags r:id="rId3"/>
            </p:custDataLst>
          </p:nvPr>
        </p:nvSpPr>
        <p:spPr bwMode="gray">
          <a:xfrm>
            <a:off x="1776873" y="1999080"/>
            <a:ext cx="2954003" cy="874327"/>
          </a:xfrm>
          <a:prstGeom prst="homePlate">
            <a:avLst>
              <a:gd name="adj" fmla="val 12004"/>
            </a:avLst>
          </a:prstGeom>
          <a:solidFill>
            <a:schemeClr val="accent3">
              <a:lumMod val="40000"/>
              <a:lumOff val="60000"/>
            </a:schemeClr>
          </a:solidFill>
          <a:ln w="38100" cap="rnd" algn="ctr">
            <a:noFill/>
            <a:round/>
            <a:headEnd/>
            <a:tailEnd/>
          </a:ln>
        </p:spPr>
        <p:txBody>
          <a:bodyPr lIns="0" tIns="0" rIns="0" bIns="0" anchor="ctr" anchorCtr="0"/>
          <a:lstStyle/>
          <a:p>
            <a:pPr marL="0" lvl="3" algn="ctr" eaLnBrk="0" hangingPunct="0"/>
            <a:r>
              <a:rPr lang="en-US" sz="1600" dirty="0">
                <a:solidFill>
                  <a:srgbClr val="000000"/>
                </a:solidFill>
                <a:sym typeface="+mn-lt"/>
              </a:rPr>
              <a:t>Current system: Understand, gather data and facts</a:t>
            </a:r>
          </a:p>
        </p:txBody>
      </p:sp>
      <p:sp>
        <p:nvSpPr>
          <p:cNvPr id="5" name="ee4pHeader2"/>
          <p:cNvSpPr>
            <a:spLocks noChangeArrowheads="1"/>
          </p:cNvSpPr>
          <p:nvPr>
            <p:custDataLst>
              <p:tags r:id="rId4"/>
            </p:custDataLst>
          </p:nvPr>
        </p:nvSpPr>
        <p:spPr bwMode="gray">
          <a:xfrm>
            <a:off x="4730876" y="1999080"/>
            <a:ext cx="2954003" cy="1861594"/>
          </a:xfrm>
          <a:prstGeom prst="chevron">
            <a:avLst>
              <a:gd name="adj" fmla="val 12004"/>
            </a:avLst>
          </a:prstGeom>
          <a:solidFill>
            <a:schemeClr val="tx2">
              <a:lumMod val="60000"/>
              <a:lumOff val="40000"/>
            </a:schemeClr>
          </a:solidFill>
          <a:ln w="38100" cap="rnd" algn="ctr">
            <a:noFill/>
            <a:round/>
            <a:headEnd/>
            <a:tailEnd/>
          </a:ln>
        </p:spPr>
        <p:txBody>
          <a:bodyPr lIns="0" tIns="0" rIns="0" bIns="0" anchor="ctr" anchorCtr="0"/>
          <a:lstStyle/>
          <a:p>
            <a:pPr marL="0" lvl="3" algn="ctr" eaLnBrk="0" hangingPunct="0"/>
            <a:r>
              <a:rPr lang="en-US" sz="1600" dirty="0" smtClean="0">
                <a:solidFill>
                  <a:srgbClr val="FFFFFF"/>
                </a:solidFill>
                <a:sym typeface="+mn-lt"/>
              </a:rPr>
              <a:t>Develop long-term vision and identify &amp; cost short-term priorities</a:t>
            </a:r>
            <a:endParaRPr lang="en-US" sz="1600" dirty="0">
              <a:solidFill>
                <a:srgbClr val="FFFFFF"/>
              </a:solidFill>
              <a:sym typeface="+mn-lt"/>
            </a:endParaRPr>
          </a:p>
        </p:txBody>
      </p:sp>
      <p:sp>
        <p:nvSpPr>
          <p:cNvPr id="6" name="ee4pHeader3"/>
          <p:cNvSpPr>
            <a:spLocks noChangeArrowheads="1"/>
          </p:cNvSpPr>
          <p:nvPr>
            <p:custDataLst>
              <p:tags r:id="rId5"/>
            </p:custDataLst>
          </p:nvPr>
        </p:nvSpPr>
        <p:spPr bwMode="gray">
          <a:xfrm>
            <a:off x="7696824" y="1999080"/>
            <a:ext cx="2954003" cy="1861594"/>
          </a:xfrm>
          <a:prstGeom prst="chevron">
            <a:avLst>
              <a:gd name="adj" fmla="val 12004"/>
            </a:avLst>
          </a:prstGeom>
          <a:solidFill>
            <a:srgbClr val="1F2C5F"/>
          </a:solidFill>
          <a:ln w="38100" cap="rnd" algn="ctr">
            <a:noFill/>
            <a:round/>
            <a:headEnd/>
            <a:tailEnd/>
          </a:ln>
        </p:spPr>
        <p:txBody>
          <a:bodyPr lIns="0" tIns="0" rIns="0" bIns="0" anchor="ctr" anchorCtr="0"/>
          <a:lstStyle/>
          <a:p>
            <a:pPr marL="0" lvl="3" algn="ctr" eaLnBrk="0" hangingPunct="0"/>
            <a:r>
              <a:rPr lang="en-US" sz="1600" dirty="0">
                <a:solidFill>
                  <a:srgbClr val="FFFFFF"/>
                </a:solidFill>
                <a:sym typeface="+mn-lt"/>
              </a:rPr>
              <a:t>Forward plan of work</a:t>
            </a:r>
          </a:p>
          <a:p>
            <a:pPr marL="0" lvl="3" algn="ctr" eaLnBrk="0" hangingPunct="0"/>
            <a:endParaRPr lang="en-US" sz="1600" dirty="0">
              <a:solidFill>
                <a:srgbClr val="FFFFFF"/>
              </a:solidFill>
              <a:sym typeface="+mn-lt"/>
            </a:endParaRPr>
          </a:p>
          <a:p>
            <a:pPr marL="0" lvl="3" algn="ctr" eaLnBrk="0" hangingPunct="0"/>
            <a:endParaRPr lang="en-US" sz="1600" dirty="0">
              <a:solidFill>
                <a:srgbClr val="FFFFFF"/>
              </a:solidFill>
              <a:sym typeface="+mn-lt"/>
            </a:endParaRPr>
          </a:p>
          <a:p>
            <a:pPr marL="0" lvl="3" algn="ctr" eaLnBrk="0" hangingPunct="0"/>
            <a:endParaRPr lang="en-US" sz="1600" dirty="0">
              <a:solidFill>
                <a:srgbClr val="FFFFFF"/>
              </a:solidFill>
              <a:sym typeface="+mn-lt"/>
            </a:endParaRPr>
          </a:p>
          <a:p>
            <a:pPr marL="0" lvl="3" algn="ctr" eaLnBrk="0" hangingPunct="0"/>
            <a:endParaRPr lang="en-US" sz="1600" dirty="0">
              <a:solidFill>
                <a:srgbClr val="FFFFFF"/>
              </a:solidFill>
              <a:sym typeface="+mn-lt"/>
            </a:endParaRPr>
          </a:p>
          <a:p>
            <a:pPr marL="0" lvl="3" algn="ctr" eaLnBrk="0" hangingPunct="0"/>
            <a:endParaRPr lang="en-US" sz="1600" dirty="0">
              <a:solidFill>
                <a:srgbClr val="FFFFFF"/>
              </a:solidFill>
              <a:sym typeface="+mn-lt"/>
            </a:endParaRPr>
          </a:p>
        </p:txBody>
      </p:sp>
      <p:sp>
        <p:nvSpPr>
          <p:cNvPr id="10" name="ee4pHeader1"/>
          <p:cNvSpPr>
            <a:spLocks noChangeArrowheads="1"/>
          </p:cNvSpPr>
          <p:nvPr>
            <p:custDataLst>
              <p:tags r:id="rId6"/>
            </p:custDataLst>
          </p:nvPr>
        </p:nvSpPr>
        <p:spPr bwMode="gray">
          <a:xfrm>
            <a:off x="1776873" y="2986347"/>
            <a:ext cx="2954003" cy="874327"/>
          </a:xfrm>
          <a:prstGeom prst="homePlate">
            <a:avLst>
              <a:gd name="adj" fmla="val 12004"/>
            </a:avLst>
          </a:prstGeom>
          <a:solidFill>
            <a:schemeClr val="accent3">
              <a:lumMod val="40000"/>
              <a:lumOff val="60000"/>
            </a:schemeClr>
          </a:solidFill>
          <a:ln w="38100" cap="rnd" algn="ctr">
            <a:noFill/>
            <a:round/>
            <a:headEnd/>
            <a:tailEnd/>
          </a:ln>
        </p:spPr>
        <p:txBody>
          <a:bodyPr lIns="0" tIns="0" rIns="0" bIns="0" anchor="ctr" anchorCtr="0"/>
          <a:lstStyle/>
          <a:p>
            <a:pPr marL="0" lvl="3" algn="ctr" eaLnBrk="0" hangingPunct="0"/>
            <a:r>
              <a:rPr lang="en-US" sz="1600" dirty="0">
                <a:solidFill>
                  <a:srgbClr val="000000"/>
                </a:solidFill>
                <a:sym typeface="+mn-lt"/>
              </a:rPr>
              <a:t>Literature review: understand evidence and other systems</a:t>
            </a:r>
          </a:p>
        </p:txBody>
      </p:sp>
      <p:sp>
        <p:nvSpPr>
          <p:cNvPr id="11" name="ee4pHeader1"/>
          <p:cNvSpPr>
            <a:spLocks noChangeArrowheads="1"/>
          </p:cNvSpPr>
          <p:nvPr>
            <p:custDataLst>
              <p:tags r:id="rId7"/>
            </p:custDataLst>
          </p:nvPr>
        </p:nvSpPr>
        <p:spPr bwMode="gray">
          <a:xfrm>
            <a:off x="1773000" y="3973614"/>
            <a:ext cx="8770032" cy="874327"/>
          </a:xfrm>
          <a:prstGeom prst="homePlate">
            <a:avLst>
              <a:gd name="adj" fmla="val 12004"/>
            </a:avLst>
          </a:prstGeom>
          <a:solidFill>
            <a:srgbClr val="C8C8C8"/>
          </a:solidFill>
          <a:ln w="38100" cap="rnd" algn="ctr">
            <a:noFill/>
            <a:round/>
            <a:headEnd/>
            <a:tailEnd/>
          </a:ln>
        </p:spPr>
        <p:txBody>
          <a:bodyPr lIns="0" tIns="0" rIns="0" bIns="0" anchor="ctr" anchorCtr="0"/>
          <a:lstStyle/>
          <a:p>
            <a:pPr marL="0" lvl="3" algn="ctr" eaLnBrk="0" hangingPunct="0"/>
            <a:r>
              <a:rPr lang="en-US" sz="1600" dirty="0" smtClean="0">
                <a:solidFill>
                  <a:srgbClr val="000000"/>
                </a:solidFill>
                <a:sym typeface="+mn-lt"/>
              </a:rPr>
              <a:t>Co-design with broad set of stakeholders including end-users</a:t>
            </a:r>
            <a:endParaRPr lang="en-US" sz="1600" dirty="0">
              <a:solidFill>
                <a:srgbClr val="000000"/>
              </a:solidFill>
              <a:sym typeface="+mn-lt"/>
            </a:endParaRPr>
          </a:p>
        </p:txBody>
      </p:sp>
      <p:sp>
        <p:nvSpPr>
          <p:cNvPr id="14" name="ee4pHeader2"/>
          <p:cNvSpPr>
            <a:spLocks noChangeArrowheads="1"/>
          </p:cNvSpPr>
          <p:nvPr>
            <p:custDataLst>
              <p:tags r:id="rId8"/>
            </p:custDataLst>
          </p:nvPr>
        </p:nvSpPr>
        <p:spPr bwMode="gray">
          <a:xfrm>
            <a:off x="8055864" y="2569464"/>
            <a:ext cx="2240280" cy="303942"/>
          </a:xfrm>
          <a:prstGeom prst="chevron">
            <a:avLst>
              <a:gd name="adj" fmla="val 12004"/>
            </a:avLst>
          </a:prstGeom>
          <a:solidFill>
            <a:srgbClr val="FFFFFF"/>
          </a:solidFill>
          <a:ln w="38100" cap="rnd" algn="ctr">
            <a:noFill/>
            <a:round/>
            <a:headEnd/>
            <a:tailEnd/>
          </a:ln>
        </p:spPr>
        <p:txBody>
          <a:bodyPr lIns="0" tIns="0" rIns="0" bIns="0" anchor="ctr" anchorCtr="0"/>
          <a:lstStyle/>
          <a:p>
            <a:pPr marL="0" lvl="3" algn="ctr" eaLnBrk="0" hangingPunct="0"/>
            <a:r>
              <a:rPr lang="en-US" sz="1600" dirty="0">
                <a:solidFill>
                  <a:srgbClr val="000000"/>
                </a:solidFill>
                <a:sym typeface="+mn-lt"/>
              </a:rPr>
              <a:t>Initiative 1</a:t>
            </a:r>
          </a:p>
        </p:txBody>
      </p:sp>
      <p:sp>
        <p:nvSpPr>
          <p:cNvPr id="16" name="ee4pHeader2"/>
          <p:cNvSpPr>
            <a:spLocks noChangeArrowheads="1"/>
          </p:cNvSpPr>
          <p:nvPr>
            <p:custDataLst>
              <p:tags r:id="rId9"/>
            </p:custDataLst>
          </p:nvPr>
        </p:nvSpPr>
        <p:spPr bwMode="gray">
          <a:xfrm>
            <a:off x="8053684" y="3034634"/>
            <a:ext cx="2240280" cy="303942"/>
          </a:xfrm>
          <a:prstGeom prst="chevron">
            <a:avLst>
              <a:gd name="adj" fmla="val 12004"/>
            </a:avLst>
          </a:prstGeom>
          <a:solidFill>
            <a:srgbClr val="FFFFFF"/>
          </a:solidFill>
          <a:ln w="38100" cap="rnd" algn="ctr">
            <a:noFill/>
            <a:round/>
            <a:headEnd/>
            <a:tailEnd/>
          </a:ln>
        </p:spPr>
        <p:txBody>
          <a:bodyPr lIns="0" tIns="0" rIns="0" bIns="0" anchor="ctr" anchorCtr="0"/>
          <a:lstStyle/>
          <a:p>
            <a:pPr marL="0" lvl="3" algn="ctr" eaLnBrk="0" hangingPunct="0"/>
            <a:r>
              <a:rPr lang="en-US" sz="1600" dirty="0">
                <a:solidFill>
                  <a:srgbClr val="000000"/>
                </a:solidFill>
                <a:sym typeface="+mn-lt"/>
              </a:rPr>
              <a:t>Initiative 2</a:t>
            </a:r>
          </a:p>
        </p:txBody>
      </p:sp>
      <p:sp>
        <p:nvSpPr>
          <p:cNvPr id="17" name="ee4pHeader2"/>
          <p:cNvSpPr>
            <a:spLocks noChangeArrowheads="1"/>
          </p:cNvSpPr>
          <p:nvPr>
            <p:custDataLst>
              <p:tags r:id="rId10"/>
            </p:custDataLst>
          </p:nvPr>
        </p:nvSpPr>
        <p:spPr bwMode="gray">
          <a:xfrm>
            <a:off x="8055864" y="3461230"/>
            <a:ext cx="2240280" cy="303942"/>
          </a:xfrm>
          <a:prstGeom prst="chevron">
            <a:avLst>
              <a:gd name="adj" fmla="val 12004"/>
            </a:avLst>
          </a:prstGeom>
          <a:solidFill>
            <a:srgbClr val="FFFFFF"/>
          </a:solidFill>
          <a:ln w="38100" cap="rnd" algn="ctr">
            <a:noFill/>
            <a:round/>
            <a:headEnd/>
            <a:tailEnd/>
          </a:ln>
        </p:spPr>
        <p:txBody>
          <a:bodyPr lIns="0" tIns="0" rIns="0" bIns="0" anchor="ctr" anchorCtr="0"/>
          <a:lstStyle/>
          <a:p>
            <a:pPr marL="0" lvl="3" algn="ctr" eaLnBrk="0" hangingPunct="0"/>
            <a:r>
              <a:rPr lang="en-US" sz="1600" dirty="0">
                <a:solidFill>
                  <a:srgbClr val="000000"/>
                </a:solidFill>
                <a:sym typeface="+mn-lt"/>
              </a:rPr>
              <a:t>Initiative 3</a:t>
            </a:r>
          </a:p>
        </p:txBody>
      </p:sp>
    </p:spTree>
    <p:extLst>
      <p:ext uri="{BB962C8B-B14F-4D97-AF65-F5344CB8AC3E}">
        <p14:creationId xmlns:p14="http://schemas.microsoft.com/office/powerpoint/2010/main" val="40169089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4"/>
          </p:nvPr>
        </p:nvSpPr>
        <p:spPr/>
        <p:txBody>
          <a:bodyPr/>
          <a:lstStyle/>
          <a:p>
            <a:endParaRPr lang="en-US" dirty="0"/>
          </a:p>
        </p:txBody>
      </p:sp>
      <p:sp>
        <p:nvSpPr>
          <p:cNvPr id="3" name="Title 2"/>
          <p:cNvSpPr>
            <a:spLocks noGrp="1"/>
          </p:cNvSpPr>
          <p:nvPr>
            <p:ph type="title"/>
          </p:nvPr>
        </p:nvSpPr>
        <p:spPr/>
        <p:txBody>
          <a:bodyPr/>
          <a:lstStyle/>
          <a:p>
            <a:r>
              <a:rPr lang="en-AU" dirty="0" smtClean="0"/>
              <a:t>Emerging priorities</a:t>
            </a:r>
            <a:endParaRPr lang="en-AU" dirty="0"/>
          </a:p>
        </p:txBody>
      </p:sp>
      <p:sp>
        <p:nvSpPr>
          <p:cNvPr id="4" name="TextBox 3"/>
          <p:cNvSpPr txBox="1"/>
          <p:nvPr/>
        </p:nvSpPr>
        <p:spPr>
          <a:xfrm>
            <a:off x="1902634" y="1817441"/>
            <a:ext cx="7536701" cy="4524315"/>
          </a:xfrm>
          <a:prstGeom prst="rect">
            <a:avLst/>
          </a:prstGeom>
          <a:noFill/>
        </p:spPr>
        <p:txBody>
          <a:bodyPr wrap="square" rtlCol="0">
            <a:spAutoFit/>
          </a:bodyPr>
          <a:lstStyle/>
          <a:p>
            <a:pPr marL="342900" indent="-342900">
              <a:buAutoNum type="arabicParenR"/>
            </a:pPr>
            <a:r>
              <a:rPr lang="en-AU" dirty="0" smtClean="0"/>
              <a:t>Align outcome measurements/assessments</a:t>
            </a:r>
          </a:p>
          <a:p>
            <a:pPr marL="342900" indent="-342900">
              <a:buAutoNum type="arabicParenR"/>
            </a:pPr>
            <a:endParaRPr lang="en-AU" dirty="0"/>
          </a:p>
          <a:p>
            <a:pPr marL="342900" indent="-342900">
              <a:buAutoNum type="arabicParenR"/>
            </a:pPr>
            <a:r>
              <a:rPr lang="en-AU" dirty="0" smtClean="0"/>
              <a:t>Improve parent navigation</a:t>
            </a:r>
          </a:p>
          <a:p>
            <a:pPr marL="342900" indent="-342900">
              <a:buAutoNum type="arabicParenR"/>
            </a:pPr>
            <a:endParaRPr lang="en-AU" dirty="0"/>
          </a:p>
          <a:p>
            <a:pPr marL="342900" indent="-342900">
              <a:buAutoNum type="arabicParenR"/>
            </a:pPr>
            <a:r>
              <a:rPr lang="en-AU" dirty="0" smtClean="0"/>
              <a:t>Increase funding flexibility</a:t>
            </a:r>
          </a:p>
          <a:p>
            <a:pPr marL="342900" indent="-342900">
              <a:buAutoNum type="arabicParenR"/>
            </a:pPr>
            <a:endParaRPr lang="en-AU" dirty="0"/>
          </a:p>
          <a:p>
            <a:pPr marL="342900" indent="-342900">
              <a:buAutoNum type="arabicParenR"/>
            </a:pPr>
            <a:r>
              <a:rPr lang="en-AU" dirty="0" smtClean="0"/>
              <a:t>Create department &amp; NESA “checklist” for accessibility (assets, policy, assessments </a:t>
            </a:r>
            <a:r>
              <a:rPr lang="en-AU" smtClean="0"/>
              <a:t>et.c</a:t>
            </a:r>
            <a:r>
              <a:rPr lang="en-AU" dirty="0" smtClean="0"/>
              <a:t>)</a:t>
            </a:r>
          </a:p>
          <a:p>
            <a:pPr marL="342900" indent="-342900">
              <a:buAutoNum type="arabicParenR"/>
            </a:pPr>
            <a:endParaRPr lang="en-AU" dirty="0"/>
          </a:p>
          <a:p>
            <a:pPr marL="342900" indent="-342900">
              <a:buAutoNum type="arabicParenR"/>
            </a:pPr>
            <a:r>
              <a:rPr lang="en-AU" dirty="0" smtClean="0"/>
              <a:t>Facilitating teacher/parent connection by student needs</a:t>
            </a:r>
          </a:p>
          <a:p>
            <a:pPr marL="342900" indent="-342900">
              <a:buAutoNum type="arabicParenR"/>
            </a:pPr>
            <a:endParaRPr lang="en-AU" dirty="0"/>
          </a:p>
          <a:p>
            <a:pPr marL="342900" indent="-342900">
              <a:buAutoNum type="arabicParenR"/>
            </a:pPr>
            <a:r>
              <a:rPr lang="en-AU" dirty="0" smtClean="0"/>
              <a:t>Strengthening professional development esp. in mainstream context &amp; for autism</a:t>
            </a:r>
          </a:p>
          <a:p>
            <a:pPr marL="342900" indent="-342900">
              <a:buAutoNum type="arabicParenR"/>
            </a:pPr>
            <a:endParaRPr lang="en-AU" dirty="0" smtClean="0"/>
          </a:p>
          <a:p>
            <a:pPr marL="342900" indent="-342900">
              <a:buAutoNum type="arabicParenR"/>
            </a:pPr>
            <a:r>
              <a:rPr lang="en-AU" dirty="0" smtClean="0"/>
              <a:t>More effective support for schools to disseminate best-practice</a:t>
            </a:r>
          </a:p>
          <a:p>
            <a:r>
              <a:rPr lang="en-AU" dirty="0" smtClean="0"/>
              <a:t> </a:t>
            </a:r>
            <a:endParaRPr lang="en-AU" dirty="0"/>
          </a:p>
        </p:txBody>
      </p:sp>
    </p:spTree>
    <p:extLst>
      <p:ext uri="{BB962C8B-B14F-4D97-AF65-F5344CB8AC3E}">
        <p14:creationId xmlns:p14="http://schemas.microsoft.com/office/powerpoint/2010/main" val="4984999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593641" y="3842740"/>
            <a:ext cx="11026533" cy="424460"/>
          </a:xfrm>
          <a:prstGeom prst="rect">
            <a:avLst/>
          </a:prstGeom>
          <a:solidFill>
            <a:schemeClr val="accent1">
              <a:lumMod val="20000"/>
              <a:lumOff val="80000"/>
            </a:schemeClr>
          </a:solidFill>
          <a:ln>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dirty="0"/>
          </a:p>
        </p:txBody>
      </p:sp>
      <p:sp>
        <p:nvSpPr>
          <p:cNvPr id="3" name="Rectangle 2"/>
          <p:cNvSpPr>
            <a:spLocks/>
          </p:cNvSpPr>
          <p:nvPr/>
        </p:nvSpPr>
        <p:spPr>
          <a:xfrm>
            <a:off x="739415" y="2789192"/>
            <a:ext cx="11026533" cy="1754326"/>
          </a:xfrm>
          <a:prstGeom prst="rect">
            <a:avLst/>
          </a:prstGeom>
        </p:spPr>
        <p:txBody>
          <a:bodyPr wrap="square">
            <a:spAutoFit/>
          </a:bodyPr>
          <a:lstStyle/>
          <a:p>
            <a:pPr marL="285750" indent="-285750" defTabSz="1219170" fontAlgn="base">
              <a:spcBef>
                <a:spcPct val="0"/>
              </a:spcBef>
              <a:spcAft>
                <a:spcPct val="0"/>
              </a:spcAft>
              <a:buFont typeface="Wingdings" panose="05000000000000000000" pitchFamily="2" charset="2"/>
              <a:buChar char="§"/>
            </a:pPr>
            <a:r>
              <a:rPr lang="en-AU" dirty="0" smtClean="0">
                <a:solidFill>
                  <a:srgbClr val="00ABC3">
                    <a:lumMod val="50000"/>
                  </a:srgbClr>
                </a:solidFill>
                <a:latin typeface="Montserrat Light" charset="0"/>
                <a:ea typeface="ＭＳ Ｐゴシック" charset="0"/>
              </a:rPr>
              <a:t>Reducing the administrative </a:t>
            </a:r>
            <a:r>
              <a:rPr lang="en-AU" dirty="0">
                <a:solidFill>
                  <a:srgbClr val="00ABC3">
                    <a:lumMod val="50000"/>
                  </a:srgbClr>
                </a:solidFill>
                <a:latin typeface="Montserrat Light" charset="0"/>
                <a:ea typeface="ＭＳ Ｐゴシック" charset="0"/>
              </a:rPr>
              <a:t>b</a:t>
            </a:r>
            <a:r>
              <a:rPr lang="en-AU" dirty="0" smtClean="0">
                <a:solidFill>
                  <a:srgbClr val="00ABC3">
                    <a:lumMod val="50000"/>
                  </a:srgbClr>
                </a:solidFill>
                <a:latin typeface="Montserrat Light" charset="0"/>
                <a:ea typeface="ＭＳ Ｐゴシック" charset="0"/>
              </a:rPr>
              <a:t>urden</a:t>
            </a:r>
          </a:p>
          <a:p>
            <a:pPr marL="285750" indent="-285750" defTabSz="1219170" fontAlgn="base">
              <a:spcBef>
                <a:spcPct val="0"/>
              </a:spcBef>
              <a:spcAft>
                <a:spcPct val="0"/>
              </a:spcAft>
              <a:buFont typeface="Wingdings" panose="05000000000000000000" pitchFamily="2" charset="2"/>
              <a:buChar char="§"/>
            </a:pPr>
            <a:endParaRPr lang="en-AU" dirty="0">
              <a:solidFill>
                <a:srgbClr val="00ABC3">
                  <a:lumMod val="50000"/>
                </a:srgbClr>
              </a:solidFill>
              <a:latin typeface="Montserrat Light" charset="0"/>
              <a:ea typeface="ＭＳ Ｐゴシック" charset="0"/>
            </a:endParaRPr>
          </a:p>
          <a:p>
            <a:pPr marL="285750" indent="-285750" defTabSz="1219170" fontAlgn="base">
              <a:spcBef>
                <a:spcPct val="0"/>
              </a:spcBef>
              <a:spcAft>
                <a:spcPct val="0"/>
              </a:spcAft>
              <a:buFont typeface="Wingdings" panose="05000000000000000000" pitchFamily="2" charset="2"/>
              <a:buChar char="§"/>
            </a:pPr>
            <a:r>
              <a:rPr lang="en-AU" dirty="0" smtClean="0">
                <a:solidFill>
                  <a:srgbClr val="00ABC3">
                    <a:lumMod val="50000"/>
                  </a:srgbClr>
                </a:solidFill>
                <a:latin typeface="Montserrat Light" charset="0"/>
                <a:ea typeface="ＭＳ Ｐゴシック" charset="0"/>
              </a:rPr>
              <a:t>Disability strategy</a:t>
            </a:r>
          </a:p>
          <a:p>
            <a:pPr marL="285750" indent="-285750" defTabSz="1219170" fontAlgn="base">
              <a:spcBef>
                <a:spcPct val="0"/>
              </a:spcBef>
              <a:spcAft>
                <a:spcPct val="0"/>
              </a:spcAft>
              <a:buFont typeface="Wingdings" panose="05000000000000000000" pitchFamily="2" charset="2"/>
              <a:buChar char="§"/>
            </a:pPr>
            <a:endParaRPr lang="en-AU" dirty="0">
              <a:solidFill>
                <a:srgbClr val="00ABC3">
                  <a:lumMod val="50000"/>
                </a:srgbClr>
              </a:solidFill>
              <a:latin typeface="Montserrat Light" charset="0"/>
              <a:ea typeface="ＭＳ Ｐゴシック" charset="0"/>
            </a:endParaRPr>
          </a:p>
          <a:p>
            <a:pPr marL="285750" indent="-285750" defTabSz="1219170" fontAlgn="base">
              <a:spcBef>
                <a:spcPct val="0"/>
              </a:spcBef>
              <a:spcAft>
                <a:spcPct val="0"/>
              </a:spcAft>
              <a:buFont typeface="Wingdings" panose="05000000000000000000" pitchFamily="2" charset="2"/>
              <a:buChar char="§"/>
            </a:pPr>
            <a:r>
              <a:rPr lang="en-AU" dirty="0" smtClean="0">
                <a:solidFill>
                  <a:srgbClr val="00ABC3">
                    <a:lumMod val="50000"/>
                  </a:srgbClr>
                </a:solidFill>
                <a:latin typeface="Montserrat Light" charset="0"/>
                <a:ea typeface="ＭＳ Ｐゴシック" charset="0"/>
              </a:rPr>
              <a:t>Staffing methodology review</a:t>
            </a:r>
          </a:p>
          <a:p>
            <a:pPr marL="285750" indent="-285750" defTabSz="1219170" fontAlgn="base">
              <a:spcBef>
                <a:spcPct val="0"/>
              </a:spcBef>
              <a:spcAft>
                <a:spcPct val="0"/>
              </a:spcAft>
              <a:buFont typeface="Wingdings" panose="05000000000000000000" pitchFamily="2" charset="2"/>
              <a:buChar char="§"/>
            </a:pPr>
            <a:endParaRPr lang="en-AU" dirty="0" smtClean="0">
              <a:solidFill>
                <a:srgbClr val="00ABC3">
                  <a:lumMod val="50000"/>
                </a:srgbClr>
              </a:solidFill>
              <a:latin typeface="Montserrat Light" charset="0"/>
              <a:ea typeface="ＭＳ Ｐゴシック" charset="0"/>
            </a:endParaRPr>
          </a:p>
        </p:txBody>
      </p:sp>
      <p:sp>
        <p:nvSpPr>
          <p:cNvPr id="2" name="Title 1"/>
          <p:cNvSpPr>
            <a:spLocks noGrp="1"/>
          </p:cNvSpPr>
          <p:nvPr>
            <p:ph type="title"/>
          </p:nvPr>
        </p:nvSpPr>
        <p:spPr>
          <a:xfrm>
            <a:off x="527380" y="654249"/>
            <a:ext cx="11026533" cy="662517"/>
          </a:xfrm>
        </p:spPr>
        <p:txBody>
          <a:bodyPr/>
          <a:lstStyle/>
          <a:p>
            <a:r>
              <a:rPr lang="en-AU" dirty="0"/>
              <a:t>Executive Summary</a:t>
            </a:r>
          </a:p>
        </p:txBody>
      </p:sp>
    </p:spTree>
    <p:extLst>
      <p:ext uri="{BB962C8B-B14F-4D97-AF65-F5344CB8AC3E}">
        <p14:creationId xmlns:p14="http://schemas.microsoft.com/office/powerpoint/2010/main" val="323523675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6"/>
          <p:cNvSpPr txBox="1">
            <a:spLocks/>
          </p:cNvSpPr>
          <p:nvPr/>
        </p:nvSpPr>
        <p:spPr>
          <a:xfrm>
            <a:off x="296679" y="480663"/>
            <a:ext cx="11041227" cy="553998"/>
          </a:xfrm>
          <a:prstGeom prst="rect">
            <a:avLst/>
          </a:prstGeom>
          <a:noFill/>
          <a:ln w="3175">
            <a:noFill/>
          </a:ln>
        </p:spPr>
        <p:txBody>
          <a:bodyPr wrap="square" rtlCol="0">
            <a:spAutoFit/>
          </a:bodyPr>
          <a:lstStyle>
            <a:defPPr>
              <a:defRPr lang="en-US"/>
            </a:defPPr>
            <a:lvl1pPr>
              <a:defRPr sz="3000">
                <a:solidFill>
                  <a:srgbClr val="215968"/>
                </a:solidFill>
              </a:defRPr>
            </a:lvl1pPr>
          </a:lstStyle>
          <a:p>
            <a:r>
              <a:rPr lang="en-AU" dirty="0"/>
              <a:t>1</a:t>
            </a:r>
            <a:r>
              <a:rPr lang="en-AU" dirty="0" smtClean="0"/>
              <a:t>. </a:t>
            </a:r>
            <a:r>
              <a:rPr lang="en-AU" dirty="0"/>
              <a:t>Staffing Methodology Review</a:t>
            </a:r>
          </a:p>
        </p:txBody>
      </p:sp>
      <p:cxnSp>
        <p:nvCxnSpPr>
          <p:cNvPr id="24" name="Straight Connector 23"/>
          <p:cNvCxnSpPr/>
          <p:nvPr/>
        </p:nvCxnSpPr>
        <p:spPr>
          <a:xfrm>
            <a:off x="367413" y="1174710"/>
            <a:ext cx="11269374"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4294967295"/>
          </p:nvPr>
        </p:nvSpPr>
        <p:spPr>
          <a:xfrm>
            <a:off x="9116439" y="6370703"/>
            <a:ext cx="2743200" cy="365125"/>
          </a:xfrm>
        </p:spPr>
        <p:txBody>
          <a:bodyPr/>
          <a:lstStyle/>
          <a:p>
            <a:fld id="{A19B7CBD-D9CA-409C-9F1A-D6C461D01A2F}" type="slidenum">
              <a:rPr lang="en-AU" smtClean="0"/>
              <a:pPr/>
              <a:t>13</a:t>
            </a:fld>
            <a:endParaRPr lang="en-AU" dirty="0"/>
          </a:p>
        </p:txBody>
      </p:sp>
      <p:sp>
        <p:nvSpPr>
          <p:cNvPr id="40" name="Isosceles Triangle 39"/>
          <p:cNvSpPr/>
          <p:nvPr/>
        </p:nvSpPr>
        <p:spPr>
          <a:xfrm rot="5400000">
            <a:off x="3502679" y="4258399"/>
            <a:ext cx="1455938" cy="204186"/>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41" name="Isosceles Triangle 40"/>
          <p:cNvSpPr/>
          <p:nvPr/>
        </p:nvSpPr>
        <p:spPr>
          <a:xfrm rot="5400000">
            <a:off x="7339298" y="4184895"/>
            <a:ext cx="1455938" cy="204186"/>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nvGrpSpPr>
          <p:cNvPr id="42" name="Group 41"/>
          <p:cNvGrpSpPr/>
          <p:nvPr/>
        </p:nvGrpSpPr>
        <p:grpSpPr>
          <a:xfrm>
            <a:off x="4493060" y="1708777"/>
            <a:ext cx="3265446" cy="4863602"/>
            <a:chOff x="483830" y="1632223"/>
            <a:chExt cx="3265446" cy="4863602"/>
          </a:xfrm>
        </p:grpSpPr>
        <p:sp>
          <p:nvSpPr>
            <p:cNvPr id="43" name="TextBox 42"/>
            <p:cNvSpPr txBox="1"/>
            <p:nvPr/>
          </p:nvSpPr>
          <p:spPr>
            <a:xfrm>
              <a:off x="573373" y="1632223"/>
              <a:ext cx="2934473" cy="400110"/>
            </a:xfrm>
            <a:prstGeom prst="rect">
              <a:avLst/>
            </a:prstGeom>
            <a:noFill/>
          </p:spPr>
          <p:txBody>
            <a:bodyPr wrap="square" rtlCol="0">
              <a:spAutoFit/>
            </a:bodyPr>
            <a:lstStyle/>
            <a:p>
              <a:pPr>
                <a:spcBef>
                  <a:spcPts val="600"/>
                </a:spcBef>
              </a:pPr>
              <a:r>
                <a:rPr lang="en-AU" sz="2000" b="1" dirty="0" smtClean="0">
                  <a:solidFill>
                    <a:srgbClr val="31859C"/>
                  </a:solidFill>
                </a:rPr>
                <a:t>Issues</a:t>
              </a:r>
            </a:p>
          </p:txBody>
        </p:sp>
        <p:sp>
          <p:nvSpPr>
            <p:cNvPr id="44" name="TextBox 43"/>
            <p:cNvSpPr txBox="1"/>
            <p:nvPr/>
          </p:nvSpPr>
          <p:spPr>
            <a:xfrm>
              <a:off x="601288" y="2387116"/>
              <a:ext cx="3056735" cy="523220"/>
            </a:xfrm>
            <a:prstGeom prst="rect">
              <a:avLst/>
            </a:prstGeom>
            <a:noFill/>
          </p:spPr>
          <p:txBody>
            <a:bodyPr wrap="square" rtlCol="0">
              <a:spAutoFit/>
            </a:bodyPr>
            <a:lstStyle/>
            <a:p>
              <a:pPr marL="285750" indent="-285750">
                <a:spcBef>
                  <a:spcPts val="600"/>
                </a:spcBef>
                <a:buFont typeface="Wingdings" panose="05000000000000000000" pitchFamily="2" charset="2"/>
                <a:buChar char="§"/>
              </a:pPr>
              <a:r>
                <a:rPr lang="en-AU" sz="1400" dirty="0" smtClean="0">
                  <a:solidFill>
                    <a:schemeClr val="tx1">
                      <a:lumMod val="85000"/>
                      <a:lumOff val="15000"/>
                    </a:schemeClr>
                  </a:solidFill>
                </a:rPr>
                <a:t>Schools want more </a:t>
              </a:r>
              <a:r>
                <a:rPr lang="en-AU" sz="1400" b="1" dirty="0" smtClean="0">
                  <a:solidFill>
                    <a:schemeClr val="tx1">
                      <a:lumMod val="85000"/>
                      <a:lumOff val="15000"/>
                    </a:schemeClr>
                  </a:solidFill>
                </a:rPr>
                <a:t>flexibility</a:t>
              </a:r>
              <a:r>
                <a:rPr lang="en-AU" sz="1400" dirty="0" smtClean="0">
                  <a:solidFill>
                    <a:schemeClr val="tx1">
                      <a:lumMod val="85000"/>
                      <a:lumOff val="15000"/>
                    </a:schemeClr>
                  </a:solidFill>
                </a:rPr>
                <a:t> to make staffing decisions.</a:t>
              </a:r>
            </a:p>
          </p:txBody>
        </p:sp>
        <p:sp>
          <p:nvSpPr>
            <p:cNvPr id="46" name="TextBox 45"/>
            <p:cNvSpPr txBox="1"/>
            <p:nvPr/>
          </p:nvSpPr>
          <p:spPr>
            <a:xfrm>
              <a:off x="601288" y="2997646"/>
              <a:ext cx="3147988" cy="738664"/>
            </a:xfrm>
            <a:prstGeom prst="rect">
              <a:avLst/>
            </a:prstGeom>
            <a:noFill/>
          </p:spPr>
          <p:txBody>
            <a:bodyPr wrap="square" rtlCol="0">
              <a:spAutoFit/>
            </a:bodyPr>
            <a:lstStyle/>
            <a:p>
              <a:pPr marL="285750" indent="-285750">
                <a:spcBef>
                  <a:spcPts val="600"/>
                </a:spcBef>
                <a:buFont typeface="Wingdings" panose="05000000000000000000" pitchFamily="2" charset="2"/>
                <a:buChar char="§"/>
              </a:pPr>
              <a:r>
                <a:rPr lang="en-AU" sz="1400" b="1" dirty="0" smtClean="0">
                  <a:solidFill>
                    <a:schemeClr val="tx1">
                      <a:lumMod val="85000"/>
                      <a:lumOff val="15000"/>
                    </a:schemeClr>
                  </a:solidFill>
                </a:rPr>
                <a:t>‘Hard-to-staff’ locations</a:t>
              </a:r>
              <a:r>
                <a:rPr lang="en-AU" sz="1400" dirty="0" smtClean="0">
                  <a:solidFill>
                    <a:schemeClr val="tx1">
                      <a:lumMod val="85000"/>
                      <a:lumOff val="15000"/>
                    </a:schemeClr>
                  </a:solidFill>
                </a:rPr>
                <a:t> have difficulty attracting and retaining quality staff.</a:t>
              </a:r>
            </a:p>
          </p:txBody>
        </p:sp>
        <p:sp>
          <p:nvSpPr>
            <p:cNvPr id="47" name="TextBox 46"/>
            <p:cNvSpPr txBox="1"/>
            <p:nvPr/>
          </p:nvSpPr>
          <p:spPr>
            <a:xfrm>
              <a:off x="601288" y="3823620"/>
              <a:ext cx="2802162" cy="523220"/>
            </a:xfrm>
            <a:prstGeom prst="rect">
              <a:avLst/>
            </a:prstGeom>
            <a:noFill/>
          </p:spPr>
          <p:txBody>
            <a:bodyPr wrap="square" rtlCol="0">
              <a:spAutoFit/>
            </a:bodyPr>
            <a:lstStyle/>
            <a:p>
              <a:pPr marL="285750" indent="-285750">
                <a:spcBef>
                  <a:spcPts val="600"/>
                </a:spcBef>
                <a:buFont typeface="Wingdings" panose="05000000000000000000" pitchFamily="2" charset="2"/>
                <a:buChar char="§"/>
              </a:pPr>
              <a:r>
                <a:rPr lang="en-AU" sz="1400" b="1" dirty="0" smtClean="0">
                  <a:solidFill>
                    <a:schemeClr val="tx1">
                      <a:lumMod val="85000"/>
                      <a:lumOff val="15000"/>
                    </a:schemeClr>
                  </a:solidFill>
                </a:rPr>
                <a:t>Teachers</a:t>
              </a:r>
              <a:r>
                <a:rPr lang="en-AU" sz="1400" dirty="0" smtClean="0">
                  <a:solidFill>
                    <a:schemeClr val="tx1">
                      <a:lumMod val="85000"/>
                      <a:lumOff val="15000"/>
                    </a:schemeClr>
                  </a:solidFill>
                </a:rPr>
                <a:t> are being </a:t>
              </a:r>
              <a:r>
                <a:rPr lang="en-AU" sz="1400" b="1" dirty="0" smtClean="0">
                  <a:solidFill>
                    <a:schemeClr val="tx1">
                      <a:lumMod val="85000"/>
                      <a:lumOff val="15000"/>
                    </a:schemeClr>
                  </a:solidFill>
                </a:rPr>
                <a:t>staffed in administrative roles</a:t>
              </a:r>
              <a:r>
                <a:rPr lang="en-AU" sz="1400" dirty="0" smtClean="0">
                  <a:solidFill>
                    <a:schemeClr val="tx1">
                      <a:lumMod val="85000"/>
                      <a:lumOff val="15000"/>
                    </a:schemeClr>
                  </a:solidFill>
                </a:rPr>
                <a:t>.</a:t>
              </a:r>
            </a:p>
          </p:txBody>
        </p:sp>
        <p:sp>
          <p:nvSpPr>
            <p:cNvPr id="48" name="TextBox 47"/>
            <p:cNvSpPr txBox="1"/>
            <p:nvPr/>
          </p:nvSpPr>
          <p:spPr>
            <a:xfrm>
              <a:off x="601288" y="4454099"/>
              <a:ext cx="3147987" cy="523220"/>
            </a:xfrm>
            <a:prstGeom prst="rect">
              <a:avLst/>
            </a:prstGeom>
            <a:noFill/>
          </p:spPr>
          <p:txBody>
            <a:bodyPr wrap="square" rtlCol="0">
              <a:spAutoFit/>
            </a:bodyPr>
            <a:lstStyle/>
            <a:p>
              <a:pPr marL="285750" indent="-285750">
                <a:spcBef>
                  <a:spcPts val="600"/>
                </a:spcBef>
                <a:buFont typeface="Wingdings" panose="05000000000000000000" pitchFamily="2" charset="2"/>
                <a:buChar char="§"/>
              </a:pPr>
              <a:r>
                <a:rPr lang="en-AU" sz="1400" dirty="0" smtClean="0">
                  <a:solidFill>
                    <a:schemeClr val="tx1">
                      <a:lumMod val="85000"/>
                      <a:lumOff val="15000"/>
                    </a:schemeClr>
                  </a:solidFill>
                </a:rPr>
                <a:t>There is an </a:t>
              </a:r>
              <a:r>
                <a:rPr lang="en-AU" sz="1400" b="1" dirty="0" smtClean="0">
                  <a:solidFill>
                    <a:schemeClr val="tx1">
                      <a:lumMod val="85000"/>
                      <a:lumOff val="15000"/>
                    </a:schemeClr>
                  </a:solidFill>
                </a:rPr>
                <a:t>administrative burden</a:t>
              </a:r>
              <a:r>
                <a:rPr lang="en-AU" sz="1400" dirty="0" smtClean="0">
                  <a:solidFill>
                    <a:schemeClr val="tx1">
                      <a:lumMod val="85000"/>
                      <a:lumOff val="15000"/>
                    </a:schemeClr>
                  </a:solidFill>
                </a:rPr>
                <a:t> on schools predicting enrolments.</a:t>
              </a:r>
            </a:p>
          </p:txBody>
        </p:sp>
        <p:sp>
          <p:nvSpPr>
            <p:cNvPr id="49" name="TextBox 48"/>
            <p:cNvSpPr txBox="1"/>
            <p:nvPr/>
          </p:nvSpPr>
          <p:spPr>
            <a:xfrm>
              <a:off x="601288" y="5064629"/>
              <a:ext cx="2802162" cy="523220"/>
            </a:xfrm>
            <a:prstGeom prst="rect">
              <a:avLst/>
            </a:prstGeom>
            <a:noFill/>
          </p:spPr>
          <p:txBody>
            <a:bodyPr wrap="square" rtlCol="0">
              <a:spAutoFit/>
            </a:bodyPr>
            <a:lstStyle/>
            <a:p>
              <a:pPr marL="285750" indent="-285750">
                <a:spcBef>
                  <a:spcPts val="600"/>
                </a:spcBef>
                <a:buFont typeface="Wingdings" panose="05000000000000000000" pitchFamily="2" charset="2"/>
                <a:buChar char="§"/>
              </a:pPr>
              <a:r>
                <a:rPr lang="en-AU" sz="1400" dirty="0" smtClean="0">
                  <a:solidFill>
                    <a:schemeClr val="tx1">
                      <a:lumMod val="85000"/>
                      <a:lumOff val="15000"/>
                    </a:schemeClr>
                  </a:solidFill>
                </a:rPr>
                <a:t>Schools should be </a:t>
              </a:r>
              <a:r>
                <a:rPr lang="en-AU" sz="1400" b="1" dirty="0" smtClean="0">
                  <a:solidFill>
                    <a:schemeClr val="tx1">
                      <a:lumMod val="85000"/>
                      <a:lumOff val="15000"/>
                    </a:schemeClr>
                  </a:solidFill>
                </a:rPr>
                <a:t>accountable for performance management</a:t>
              </a:r>
              <a:r>
                <a:rPr lang="en-AU" sz="1400" dirty="0" smtClean="0">
                  <a:solidFill>
                    <a:schemeClr val="tx1">
                      <a:lumMod val="85000"/>
                      <a:lumOff val="15000"/>
                    </a:schemeClr>
                  </a:solidFill>
                </a:rPr>
                <a:t>.</a:t>
              </a:r>
            </a:p>
          </p:txBody>
        </p:sp>
        <p:sp>
          <p:nvSpPr>
            <p:cNvPr id="50" name="TextBox 49"/>
            <p:cNvSpPr txBox="1"/>
            <p:nvPr/>
          </p:nvSpPr>
          <p:spPr>
            <a:xfrm>
              <a:off x="601288" y="5675160"/>
              <a:ext cx="2961486" cy="523220"/>
            </a:xfrm>
            <a:prstGeom prst="rect">
              <a:avLst/>
            </a:prstGeom>
            <a:noFill/>
          </p:spPr>
          <p:txBody>
            <a:bodyPr wrap="square" rtlCol="0">
              <a:spAutoFit/>
            </a:bodyPr>
            <a:lstStyle/>
            <a:p>
              <a:pPr marL="285750" indent="-285750">
                <a:spcBef>
                  <a:spcPts val="600"/>
                </a:spcBef>
                <a:buFont typeface="Wingdings" panose="05000000000000000000" pitchFamily="2" charset="2"/>
                <a:buChar char="§"/>
              </a:pPr>
              <a:r>
                <a:rPr lang="en-AU" sz="1400" dirty="0" smtClean="0">
                  <a:solidFill>
                    <a:schemeClr val="tx1">
                      <a:lumMod val="85000"/>
                      <a:lumOff val="15000"/>
                    </a:schemeClr>
                  </a:solidFill>
                </a:rPr>
                <a:t>Schools face challenges </a:t>
              </a:r>
              <a:r>
                <a:rPr lang="en-AU" sz="1400" b="1" dirty="0" smtClean="0">
                  <a:solidFill>
                    <a:schemeClr val="tx1">
                      <a:lumMod val="85000"/>
                      <a:lumOff val="15000"/>
                    </a:schemeClr>
                  </a:solidFill>
                </a:rPr>
                <a:t>sourcing the teaching skills they need</a:t>
              </a:r>
              <a:r>
                <a:rPr lang="en-AU" sz="1400" dirty="0" smtClean="0">
                  <a:solidFill>
                    <a:schemeClr val="tx1">
                      <a:lumMod val="85000"/>
                      <a:lumOff val="15000"/>
                    </a:schemeClr>
                  </a:solidFill>
                </a:rPr>
                <a:t>.</a:t>
              </a:r>
              <a:endParaRPr lang="en-AU" sz="1400" b="1" dirty="0" smtClean="0">
                <a:solidFill>
                  <a:schemeClr val="tx1">
                    <a:lumMod val="85000"/>
                    <a:lumOff val="15000"/>
                  </a:schemeClr>
                </a:solidFill>
              </a:endParaRPr>
            </a:p>
          </p:txBody>
        </p:sp>
        <p:sp>
          <p:nvSpPr>
            <p:cNvPr id="51" name="Rounded Rectangle 50"/>
            <p:cNvSpPr/>
            <p:nvPr/>
          </p:nvSpPr>
          <p:spPr>
            <a:xfrm>
              <a:off x="483830" y="2159064"/>
              <a:ext cx="3260889" cy="4336761"/>
            </a:xfrm>
            <a:prstGeom prst="roundRect">
              <a:avLst/>
            </a:prstGeom>
            <a:noFill/>
            <a:ln w="28575">
              <a:solidFill>
                <a:srgbClr val="B0DA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grpSp>
        <p:nvGrpSpPr>
          <p:cNvPr id="52" name="Group 51"/>
          <p:cNvGrpSpPr/>
          <p:nvPr/>
        </p:nvGrpSpPr>
        <p:grpSpPr>
          <a:xfrm>
            <a:off x="8376028" y="1701956"/>
            <a:ext cx="3347480" cy="4816180"/>
            <a:chOff x="4290289" y="1712309"/>
            <a:chExt cx="3347480" cy="4816180"/>
          </a:xfrm>
        </p:grpSpPr>
        <p:sp>
          <p:nvSpPr>
            <p:cNvPr id="53" name="TextBox 52"/>
            <p:cNvSpPr txBox="1"/>
            <p:nvPr/>
          </p:nvSpPr>
          <p:spPr>
            <a:xfrm>
              <a:off x="4350055" y="1712309"/>
              <a:ext cx="2934473" cy="400110"/>
            </a:xfrm>
            <a:prstGeom prst="rect">
              <a:avLst/>
            </a:prstGeom>
            <a:noFill/>
          </p:spPr>
          <p:txBody>
            <a:bodyPr wrap="square" rtlCol="0">
              <a:spAutoFit/>
            </a:bodyPr>
            <a:lstStyle/>
            <a:p>
              <a:pPr>
                <a:spcBef>
                  <a:spcPts val="600"/>
                </a:spcBef>
              </a:pPr>
              <a:r>
                <a:rPr lang="en-AU" sz="2000" b="1" dirty="0" smtClean="0">
                  <a:solidFill>
                    <a:srgbClr val="31859C"/>
                  </a:solidFill>
                </a:rPr>
                <a:t>Process</a:t>
              </a:r>
            </a:p>
          </p:txBody>
        </p:sp>
        <p:sp>
          <p:nvSpPr>
            <p:cNvPr id="54" name="TextBox 53"/>
            <p:cNvSpPr txBox="1"/>
            <p:nvPr/>
          </p:nvSpPr>
          <p:spPr>
            <a:xfrm>
              <a:off x="4351415" y="2417853"/>
              <a:ext cx="3107773" cy="738664"/>
            </a:xfrm>
            <a:prstGeom prst="rect">
              <a:avLst/>
            </a:prstGeom>
            <a:noFill/>
          </p:spPr>
          <p:txBody>
            <a:bodyPr wrap="square" rtlCol="0">
              <a:spAutoFit/>
            </a:bodyPr>
            <a:lstStyle/>
            <a:p>
              <a:pPr marL="285750" indent="-285750">
                <a:spcBef>
                  <a:spcPts val="600"/>
                </a:spcBef>
                <a:buFont typeface="Wingdings" panose="05000000000000000000" pitchFamily="2" charset="2"/>
                <a:buChar char="§"/>
              </a:pPr>
              <a:r>
                <a:rPr lang="en-AU" sz="1400" b="1" dirty="0" smtClean="0">
                  <a:solidFill>
                    <a:schemeClr val="tx1">
                      <a:lumMod val="85000"/>
                      <a:lumOff val="15000"/>
                    </a:schemeClr>
                  </a:solidFill>
                </a:rPr>
                <a:t>Benchmarking</a:t>
              </a:r>
              <a:r>
                <a:rPr lang="en-AU" sz="1400" dirty="0" smtClean="0">
                  <a:solidFill>
                    <a:schemeClr val="tx1">
                      <a:lumMod val="85000"/>
                      <a:lumOff val="15000"/>
                    </a:schemeClr>
                  </a:solidFill>
                </a:rPr>
                <a:t> how high performing systems staff their schools (Jun – Aug 2018).</a:t>
              </a:r>
            </a:p>
          </p:txBody>
        </p:sp>
        <p:sp>
          <p:nvSpPr>
            <p:cNvPr id="55" name="TextBox 54"/>
            <p:cNvSpPr txBox="1"/>
            <p:nvPr/>
          </p:nvSpPr>
          <p:spPr>
            <a:xfrm>
              <a:off x="4351415" y="4051210"/>
              <a:ext cx="3107772" cy="1384995"/>
            </a:xfrm>
            <a:prstGeom prst="rect">
              <a:avLst/>
            </a:prstGeom>
            <a:noFill/>
          </p:spPr>
          <p:txBody>
            <a:bodyPr wrap="square" rtlCol="0">
              <a:spAutoFit/>
            </a:bodyPr>
            <a:lstStyle/>
            <a:p>
              <a:pPr marL="285750" indent="-285750">
                <a:spcBef>
                  <a:spcPts val="600"/>
                </a:spcBef>
                <a:buFont typeface="Wingdings" panose="05000000000000000000" pitchFamily="2" charset="2"/>
                <a:buChar char="§"/>
              </a:pPr>
              <a:r>
                <a:rPr lang="en-AU" sz="1400" b="1" dirty="0">
                  <a:solidFill>
                    <a:schemeClr val="tx1">
                      <a:lumMod val="85000"/>
                      <a:lumOff val="15000"/>
                    </a:schemeClr>
                  </a:solidFill>
                </a:rPr>
                <a:t>D</a:t>
              </a:r>
              <a:r>
                <a:rPr lang="en-AU" sz="1400" b="1" dirty="0" smtClean="0">
                  <a:solidFill>
                    <a:schemeClr val="tx1">
                      <a:lumMod val="85000"/>
                      <a:lumOff val="15000"/>
                    </a:schemeClr>
                  </a:solidFill>
                </a:rPr>
                <a:t>iscovery and co-design</a:t>
              </a:r>
              <a:r>
                <a:rPr lang="en-AU" sz="1400" dirty="0" smtClean="0">
                  <a:solidFill>
                    <a:schemeClr val="tx1">
                      <a:lumMod val="85000"/>
                      <a:lumOff val="15000"/>
                    </a:schemeClr>
                  </a:solidFill>
                </a:rPr>
                <a:t> solutions including a revised staff resourcing model, local decision making balanced with system stability, and better systems and processes (Oct – Dec 2018).</a:t>
              </a:r>
            </a:p>
          </p:txBody>
        </p:sp>
        <p:sp>
          <p:nvSpPr>
            <p:cNvPr id="56" name="TextBox 55"/>
            <p:cNvSpPr txBox="1"/>
            <p:nvPr/>
          </p:nvSpPr>
          <p:spPr>
            <a:xfrm>
              <a:off x="4359016" y="5461615"/>
              <a:ext cx="2863208" cy="523220"/>
            </a:xfrm>
            <a:prstGeom prst="rect">
              <a:avLst/>
            </a:prstGeom>
            <a:noFill/>
          </p:spPr>
          <p:txBody>
            <a:bodyPr wrap="square" rtlCol="0">
              <a:spAutoFit/>
            </a:bodyPr>
            <a:lstStyle/>
            <a:p>
              <a:pPr marL="285750" indent="-285750">
                <a:spcBef>
                  <a:spcPts val="600"/>
                </a:spcBef>
                <a:buFont typeface="Wingdings" panose="05000000000000000000" pitchFamily="2" charset="2"/>
                <a:buChar char="§"/>
              </a:pPr>
              <a:r>
                <a:rPr lang="en-AU" sz="1400" b="1" smtClean="0">
                  <a:solidFill>
                    <a:schemeClr val="tx1">
                      <a:lumMod val="85000"/>
                      <a:lumOff val="15000"/>
                    </a:schemeClr>
                  </a:solidFill>
                </a:rPr>
                <a:t>Test </a:t>
              </a:r>
              <a:r>
                <a:rPr lang="en-AU" sz="1400" b="1" dirty="0" smtClean="0">
                  <a:solidFill>
                    <a:schemeClr val="tx1">
                      <a:lumMod val="85000"/>
                      <a:lumOff val="15000"/>
                    </a:schemeClr>
                  </a:solidFill>
                </a:rPr>
                <a:t>and develop </a:t>
              </a:r>
              <a:r>
                <a:rPr lang="en-AU" sz="1400" dirty="0" smtClean="0">
                  <a:solidFill>
                    <a:schemeClr val="tx1">
                      <a:lumMod val="85000"/>
                      <a:lumOff val="15000"/>
                    </a:schemeClr>
                  </a:solidFill>
                </a:rPr>
                <a:t>solutions (Jan – Mar 2018).</a:t>
              </a:r>
            </a:p>
          </p:txBody>
        </p:sp>
        <p:sp>
          <p:nvSpPr>
            <p:cNvPr id="57" name="TextBox 56"/>
            <p:cNvSpPr txBox="1"/>
            <p:nvPr/>
          </p:nvSpPr>
          <p:spPr>
            <a:xfrm>
              <a:off x="4359016" y="3137703"/>
              <a:ext cx="3107772" cy="954107"/>
            </a:xfrm>
            <a:prstGeom prst="rect">
              <a:avLst/>
            </a:prstGeom>
            <a:noFill/>
          </p:spPr>
          <p:txBody>
            <a:bodyPr wrap="square" rtlCol="0">
              <a:spAutoFit/>
            </a:bodyPr>
            <a:lstStyle/>
            <a:p>
              <a:pPr marL="285750" indent="-285750">
                <a:spcBef>
                  <a:spcPts val="600"/>
                </a:spcBef>
                <a:buFont typeface="Wingdings" panose="05000000000000000000" pitchFamily="2" charset="2"/>
                <a:buChar char="§"/>
              </a:pPr>
              <a:r>
                <a:rPr lang="en-AU" sz="1400" b="1" dirty="0" smtClean="0">
                  <a:solidFill>
                    <a:schemeClr val="tx1">
                      <a:lumMod val="85000"/>
                      <a:lumOff val="15000"/>
                    </a:schemeClr>
                  </a:solidFill>
                </a:rPr>
                <a:t>Stakeholder engagement</a:t>
              </a:r>
              <a:r>
                <a:rPr lang="en-AU" sz="1400" dirty="0" smtClean="0">
                  <a:solidFill>
                    <a:schemeClr val="tx1">
                      <a:lumMod val="85000"/>
                      <a:lumOff val="15000"/>
                    </a:schemeClr>
                  </a:solidFill>
                </a:rPr>
                <a:t> to  canvass options for change and test ideas for improvement (Aug – Sept 2018).</a:t>
              </a:r>
            </a:p>
          </p:txBody>
        </p:sp>
        <p:sp>
          <p:nvSpPr>
            <p:cNvPr id="58" name="Rounded Rectangle 57"/>
            <p:cNvSpPr/>
            <p:nvPr/>
          </p:nvSpPr>
          <p:spPr>
            <a:xfrm>
              <a:off x="4290289" y="2191728"/>
              <a:ext cx="3347480" cy="4336761"/>
            </a:xfrm>
            <a:prstGeom prst="roundRect">
              <a:avLst/>
            </a:prstGeom>
            <a:noFill/>
            <a:ln w="28575">
              <a:solidFill>
                <a:srgbClr val="B0DA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grpSp>
        <p:nvGrpSpPr>
          <p:cNvPr id="59" name="Group 58"/>
          <p:cNvGrpSpPr/>
          <p:nvPr/>
        </p:nvGrpSpPr>
        <p:grpSpPr>
          <a:xfrm>
            <a:off x="508000" y="1708777"/>
            <a:ext cx="3347480" cy="4820096"/>
            <a:chOff x="8097718" y="1708393"/>
            <a:chExt cx="3347480" cy="4820096"/>
          </a:xfrm>
        </p:grpSpPr>
        <p:sp>
          <p:nvSpPr>
            <p:cNvPr id="60" name="TextBox 59"/>
            <p:cNvSpPr txBox="1"/>
            <p:nvPr/>
          </p:nvSpPr>
          <p:spPr>
            <a:xfrm>
              <a:off x="8210158" y="1708393"/>
              <a:ext cx="2934473" cy="400110"/>
            </a:xfrm>
            <a:prstGeom prst="rect">
              <a:avLst/>
            </a:prstGeom>
            <a:noFill/>
          </p:spPr>
          <p:txBody>
            <a:bodyPr wrap="square" rtlCol="0">
              <a:spAutoFit/>
            </a:bodyPr>
            <a:lstStyle/>
            <a:p>
              <a:pPr>
                <a:spcBef>
                  <a:spcPts val="600"/>
                </a:spcBef>
              </a:pPr>
              <a:r>
                <a:rPr lang="en-AU" sz="2000" b="1" dirty="0" smtClean="0">
                  <a:solidFill>
                    <a:srgbClr val="31859C"/>
                  </a:solidFill>
                </a:rPr>
                <a:t>Outcomes</a:t>
              </a:r>
            </a:p>
          </p:txBody>
        </p:sp>
        <p:sp>
          <p:nvSpPr>
            <p:cNvPr id="61" name="TextBox 60"/>
            <p:cNvSpPr txBox="1"/>
            <p:nvPr/>
          </p:nvSpPr>
          <p:spPr>
            <a:xfrm>
              <a:off x="8278635" y="2442743"/>
              <a:ext cx="3129137" cy="738664"/>
            </a:xfrm>
            <a:prstGeom prst="rect">
              <a:avLst/>
            </a:prstGeom>
            <a:noFill/>
          </p:spPr>
          <p:txBody>
            <a:bodyPr wrap="square" rtlCol="0">
              <a:spAutoFit/>
            </a:bodyPr>
            <a:lstStyle/>
            <a:p>
              <a:pPr marL="285750" indent="-285750">
                <a:spcBef>
                  <a:spcPts val="600"/>
                </a:spcBef>
                <a:buFont typeface="Wingdings" panose="05000000000000000000" pitchFamily="2" charset="2"/>
                <a:buChar char="§"/>
              </a:pPr>
              <a:r>
                <a:rPr lang="en-AU" sz="1400" b="1" dirty="0" smtClean="0">
                  <a:solidFill>
                    <a:schemeClr val="tx1">
                      <a:lumMod val="85000"/>
                      <a:lumOff val="15000"/>
                    </a:schemeClr>
                  </a:solidFill>
                </a:rPr>
                <a:t>Schools have the resources they need </a:t>
              </a:r>
              <a:r>
                <a:rPr lang="en-AU" sz="1400" dirty="0" smtClean="0">
                  <a:solidFill>
                    <a:schemeClr val="tx1">
                      <a:lumMod val="85000"/>
                      <a:lumOff val="15000"/>
                    </a:schemeClr>
                  </a:solidFill>
                </a:rPr>
                <a:t>to innovate and effectively respond to student needs.</a:t>
              </a:r>
            </a:p>
          </p:txBody>
        </p:sp>
        <p:sp>
          <p:nvSpPr>
            <p:cNvPr id="62" name="TextBox 61"/>
            <p:cNvSpPr txBox="1"/>
            <p:nvPr/>
          </p:nvSpPr>
          <p:spPr>
            <a:xfrm>
              <a:off x="8224472" y="5655048"/>
              <a:ext cx="3113592" cy="615553"/>
            </a:xfrm>
            <a:prstGeom prst="rect">
              <a:avLst/>
            </a:prstGeom>
            <a:noFill/>
          </p:spPr>
          <p:txBody>
            <a:bodyPr wrap="square" rtlCol="0">
              <a:spAutoFit/>
            </a:bodyPr>
            <a:lstStyle/>
            <a:p>
              <a:pPr algn="ctr">
                <a:spcBef>
                  <a:spcPts val="600"/>
                </a:spcBef>
              </a:pPr>
              <a:r>
                <a:rPr lang="en-AU" sz="1700" b="1" dirty="0" smtClean="0">
                  <a:solidFill>
                    <a:srgbClr val="31859C"/>
                  </a:solidFill>
                </a:rPr>
                <a:t>Students are more engaged and achieve better outcomes.</a:t>
              </a:r>
              <a:endParaRPr lang="en-AU" sz="1700" dirty="0" smtClean="0">
                <a:solidFill>
                  <a:srgbClr val="31859C"/>
                </a:solidFill>
              </a:endParaRPr>
            </a:p>
          </p:txBody>
        </p:sp>
        <p:sp>
          <p:nvSpPr>
            <p:cNvPr id="63" name="TextBox 62"/>
            <p:cNvSpPr txBox="1"/>
            <p:nvPr/>
          </p:nvSpPr>
          <p:spPr>
            <a:xfrm>
              <a:off x="8245275" y="3534950"/>
              <a:ext cx="3133923" cy="954107"/>
            </a:xfrm>
            <a:prstGeom prst="rect">
              <a:avLst/>
            </a:prstGeom>
            <a:noFill/>
          </p:spPr>
          <p:txBody>
            <a:bodyPr wrap="square" rtlCol="0">
              <a:spAutoFit/>
            </a:bodyPr>
            <a:lstStyle/>
            <a:p>
              <a:pPr marL="285750" indent="-285750">
                <a:spcBef>
                  <a:spcPts val="600"/>
                </a:spcBef>
                <a:buFont typeface="Wingdings" panose="05000000000000000000" pitchFamily="2" charset="2"/>
                <a:buChar char="§"/>
              </a:pPr>
              <a:r>
                <a:rPr lang="en-AU" sz="1400" b="1" dirty="0" smtClean="0">
                  <a:solidFill>
                    <a:schemeClr val="tx1">
                      <a:lumMod val="85000"/>
                      <a:lumOff val="15000"/>
                    </a:schemeClr>
                  </a:solidFill>
                </a:rPr>
                <a:t>Principals have more time </a:t>
              </a:r>
              <a:r>
                <a:rPr lang="en-AU" sz="1400" dirty="0" smtClean="0">
                  <a:solidFill>
                    <a:schemeClr val="tx1">
                      <a:lumMod val="85000"/>
                      <a:lumOff val="15000"/>
                    </a:schemeClr>
                  </a:solidFill>
                </a:rPr>
                <a:t>to dedicate to </a:t>
              </a:r>
              <a:r>
                <a:rPr lang="en-AU" sz="1400" b="1" dirty="0" smtClean="0">
                  <a:solidFill>
                    <a:schemeClr val="tx1">
                      <a:lumMod val="85000"/>
                      <a:lumOff val="15000"/>
                    </a:schemeClr>
                  </a:solidFill>
                </a:rPr>
                <a:t>teaching and learning</a:t>
              </a:r>
              <a:r>
                <a:rPr lang="en-AU" sz="1400" dirty="0" smtClean="0">
                  <a:solidFill>
                    <a:schemeClr val="tx1">
                      <a:lumMod val="85000"/>
                      <a:lumOff val="15000"/>
                    </a:schemeClr>
                  </a:solidFill>
                </a:rPr>
                <a:t> and </a:t>
              </a:r>
              <a:r>
                <a:rPr lang="en-AU" sz="1400" b="1" dirty="0" smtClean="0">
                  <a:solidFill>
                    <a:schemeClr val="tx1">
                      <a:lumMod val="85000"/>
                      <a:lumOff val="15000"/>
                    </a:schemeClr>
                  </a:solidFill>
                </a:rPr>
                <a:t> engage with their communities</a:t>
              </a:r>
              <a:r>
                <a:rPr lang="en-AU" sz="1400" dirty="0" smtClean="0">
                  <a:solidFill>
                    <a:schemeClr val="tx1">
                      <a:lumMod val="85000"/>
                      <a:lumOff val="15000"/>
                    </a:schemeClr>
                  </a:solidFill>
                </a:rPr>
                <a:t>.</a:t>
              </a:r>
            </a:p>
          </p:txBody>
        </p:sp>
        <p:sp>
          <p:nvSpPr>
            <p:cNvPr id="64" name="TextBox 63"/>
            <p:cNvSpPr txBox="1"/>
            <p:nvPr/>
          </p:nvSpPr>
          <p:spPr>
            <a:xfrm>
              <a:off x="8307211" y="4816526"/>
              <a:ext cx="3071987" cy="523220"/>
            </a:xfrm>
            <a:prstGeom prst="rect">
              <a:avLst/>
            </a:prstGeom>
            <a:noFill/>
          </p:spPr>
          <p:txBody>
            <a:bodyPr wrap="square" rtlCol="0">
              <a:spAutoFit/>
            </a:bodyPr>
            <a:lstStyle/>
            <a:p>
              <a:pPr marL="285750" indent="-285750">
                <a:spcBef>
                  <a:spcPts val="600"/>
                </a:spcBef>
                <a:buFont typeface="Wingdings" panose="05000000000000000000" pitchFamily="2" charset="2"/>
                <a:buChar char="§"/>
              </a:pPr>
              <a:r>
                <a:rPr lang="en-AU" sz="1400" b="1" dirty="0" smtClean="0">
                  <a:solidFill>
                    <a:schemeClr val="tx1">
                      <a:lumMod val="85000"/>
                      <a:lumOff val="15000"/>
                    </a:schemeClr>
                  </a:solidFill>
                </a:rPr>
                <a:t>The quality of teaching and the learning environment improve.</a:t>
              </a:r>
            </a:p>
          </p:txBody>
        </p:sp>
        <p:sp>
          <p:nvSpPr>
            <p:cNvPr id="65" name="Down Arrow 64"/>
            <p:cNvSpPr/>
            <p:nvPr/>
          </p:nvSpPr>
          <p:spPr>
            <a:xfrm>
              <a:off x="9677395" y="3242364"/>
              <a:ext cx="215900" cy="254000"/>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66" name="Down Arrow 65"/>
            <p:cNvSpPr/>
            <p:nvPr/>
          </p:nvSpPr>
          <p:spPr>
            <a:xfrm>
              <a:off x="9691221" y="4524852"/>
              <a:ext cx="215900" cy="254000"/>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67" name="Down Arrow 66"/>
            <p:cNvSpPr/>
            <p:nvPr/>
          </p:nvSpPr>
          <p:spPr>
            <a:xfrm>
              <a:off x="9699260" y="5323878"/>
              <a:ext cx="215900" cy="254000"/>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68" name="Rounded Rectangle 67"/>
            <p:cNvSpPr/>
            <p:nvPr/>
          </p:nvSpPr>
          <p:spPr>
            <a:xfrm>
              <a:off x="8097718" y="2191728"/>
              <a:ext cx="3347480" cy="4336761"/>
            </a:xfrm>
            <a:prstGeom prst="roundRect">
              <a:avLst/>
            </a:prstGeom>
            <a:noFill/>
            <a:ln w="28575">
              <a:solidFill>
                <a:srgbClr val="B0DA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
        <p:nvSpPr>
          <p:cNvPr id="3" name="TextBox 2"/>
          <p:cNvSpPr txBox="1"/>
          <p:nvPr/>
        </p:nvSpPr>
        <p:spPr>
          <a:xfrm>
            <a:off x="7858125" y="180975"/>
            <a:ext cx="2138363" cy="369332"/>
          </a:xfrm>
          <a:prstGeom prst="rect">
            <a:avLst/>
          </a:prstGeom>
          <a:solidFill>
            <a:schemeClr val="accent1">
              <a:lumMod val="20000"/>
              <a:lumOff val="80000"/>
            </a:schemeClr>
          </a:solidFill>
        </p:spPr>
        <p:txBody>
          <a:bodyPr wrap="square" rtlCol="0">
            <a:spAutoFit/>
          </a:bodyPr>
          <a:lstStyle/>
          <a:p>
            <a:r>
              <a:rPr lang="en-AU" dirty="0" smtClean="0"/>
              <a:t>DISCUSSION DRAFT</a:t>
            </a:r>
            <a:endParaRPr lang="en-AU" dirty="0"/>
          </a:p>
        </p:txBody>
      </p:sp>
    </p:spTree>
    <p:extLst>
      <p:ext uri="{BB962C8B-B14F-4D97-AF65-F5344CB8AC3E}">
        <p14:creationId xmlns:p14="http://schemas.microsoft.com/office/powerpoint/2010/main" val="210531863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527380" y="2789192"/>
            <a:ext cx="11026533" cy="424460"/>
          </a:xfrm>
          <a:prstGeom prst="rect">
            <a:avLst/>
          </a:prstGeom>
          <a:solidFill>
            <a:schemeClr val="accent1">
              <a:lumMod val="20000"/>
              <a:lumOff val="80000"/>
            </a:schemeClr>
          </a:solidFill>
          <a:ln>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dirty="0"/>
          </a:p>
        </p:txBody>
      </p:sp>
      <p:sp>
        <p:nvSpPr>
          <p:cNvPr id="3" name="Rectangle 2"/>
          <p:cNvSpPr>
            <a:spLocks/>
          </p:cNvSpPr>
          <p:nvPr/>
        </p:nvSpPr>
        <p:spPr>
          <a:xfrm>
            <a:off x="739415" y="2789192"/>
            <a:ext cx="11026533" cy="1754326"/>
          </a:xfrm>
          <a:prstGeom prst="rect">
            <a:avLst/>
          </a:prstGeom>
        </p:spPr>
        <p:txBody>
          <a:bodyPr wrap="square">
            <a:spAutoFit/>
          </a:bodyPr>
          <a:lstStyle/>
          <a:p>
            <a:pPr marL="285750" indent="-285750" defTabSz="1219170" fontAlgn="base">
              <a:spcBef>
                <a:spcPct val="0"/>
              </a:spcBef>
              <a:spcAft>
                <a:spcPct val="0"/>
              </a:spcAft>
              <a:buFont typeface="Wingdings" panose="05000000000000000000" pitchFamily="2" charset="2"/>
              <a:buChar char="§"/>
            </a:pPr>
            <a:r>
              <a:rPr lang="en-AU" dirty="0" smtClean="0">
                <a:solidFill>
                  <a:srgbClr val="00ABC3">
                    <a:lumMod val="50000"/>
                  </a:srgbClr>
                </a:solidFill>
                <a:latin typeface="Montserrat Light" charset="0"/>
                <a:ea typeface="ＭＳ Ｐゴシック" charset="0"/>
              </a:rPr>
              <a:t>Reducing the administrative </a:t>
            </a:r>
            <a:r>
              <a:rPr lang="en-AU" dirty="0">
                <a:solidFill>
                  <a:srgbClr val="00ABC3">
                    <a:lumMod val="50000"/>
                  </a:srgbClr>
                </a:solidFill>
                <a:latin typeface="Montserrat Light" charset="0"/>
                <a:ea typeface="ＭＳ Ｐゴシック" charset="0"/>
              </a:rPr>
              <a:t>b</a:t>
            </a:r>
            <a:r>
              <a:rPr lang="en-AU" dirty="0" smtClean="0">
                <a:solidFill>
                  <a:srgbClr val="00ABC3">
                    <a:lumMod val="50000"/>
                  </a:srgbClr>
                </a:solidFill>
                <a:latin typeface="Montserrat Light" charset="0"/>
                <a:ea typeface="ＭＳ Ｐゴシック" charset="0"/>
              </a:rPr>
              <a:t>urden</a:t>
            </a:r>
          </a:p>
          <a:p>
            <a:pPr marL="285750" indent="-285750" defTabSz="1219170" fontAlgn="base">
              <a:spcBef>
                <a:spcPct val="0"/>
              </a:spcBef>
              <a:spcAft>
                <a:spcPct val="0"/>
              </a:spcAft>
              <a:buFont typeface="Wingdings" panose="05000000000000000000" pitchFamily="2" charset="2"/>
              <a:buChar char="§"/>
            </a:pPr>
            <a:endParaRPr lang="en-AU" dirty="0">
              <a:solidFill>
                <a:srgbClr val="00ABC3">
                  <a:lumMod val="50000"/>
                </a:srgbClr>
              </a:solidFill>
              <a:latin typeface="Montserrat Light" charset="0"/>
              <a:ea typeface="ＭＳ Ｐゴシック" charset="0"/>
            </a:endParaRPr>
          </a:p>
          <a:p>
            <a:pPr marL="285750" indent="-285750" defTabSz="1219170" fontAlgn="base">
              <a:spcBef>
                <a:spcPct val="0"/>
              </a:spcBef>
              <a:spcAft>
                <a:spcPct val="0"/>
              </a:spcAft>
              <a:buFont typeface="Wingdings" panose="05000000000000000000" pitchFamily="2" charset="2"/>
              <a:buChar char="§"/>
            </a:pPr>
            <a:r>
              <a:rPr lang="en-AU" dirty="0" smtClean="0">
                <a:solidFill>
                  <a:srgbClr val="00ABC3">
                    <a:lumMod val="50000"/>
                  </a:srgbClr>
                </a:solidFill>
                <a:latin typeface="Montserrat Light" charset="0"/>
                <a:ea typeface="ＭＳ Ｐゴシック" charset="0"/>
              </a:rPr>
              <a:t>Disability strategy</a:t>
            </a:r>
          </a:p>
          <a:p>
            <a:pPr marL="285750" indent="-285750" defTabSz="1219170" fontAlgn="base">
              <a:spcBef>
                <a:spcPct val="0"/>
              </a:spcBef>
              <a:spcAft>
                <a:spcPct val="0"/>
              </a:spcAft>
              <a:buFont typeface="Wingdings" panose="05000000000000000000" pitchFamily="2" charset="2"/>
              <a:buChar char="§"/>
            </a:pPr>
            <a:endParaRPr lang="en-AU" dirty="0">
              <a:solidFill>
                <a:srgbClr val="00ABC3">
                  <a:lumMod val="50000"/>
                </a:srgbClr>
              </a:solidFill>
              <a:latin typeface="Montserrat Light" charset="0"/>
              <a:ea typeface="ＭＳ Ｐゴシック" charset="0"/>
            </a:endParaRPr>
          </a:p>
          <a:p>
            <a:pPr marL="285750" indent="-285750" defTabSz="1219170" fontAlgn="base">
              <a:spcBef>
                <a:spcPct val="0"/>
              </a:spcBef>
              <a:spcAft>
                <a:spcPct val="0"/>
              </a:spcAft>
              <a:buFont typeface="Wingdings" panose="05000000000000000000" pitchFamily="2" charset="2"/>
              <a:buChar char="§"/>
            </a:pPr>
            <a:r>
              <a:rPr lang="en-AU" dirty="0" smtClean="0">
                <a:solidFill>
                  <a:srgbClr val="00ABC3">
                    <a:lumMod val="50000"/>
                  </a:srgbClr>
                </a:solidFill>
                <a:latin typeface="Montserrat Light" charset="0"/>
                <a:ea typeface="ＭＳ Ｐゴシック" charset="0"/>
              </a:rPr>
              <a:t>Staffing methodology review</a:t>
            </a:r>
          </a:p>
          <a:p>
            <a:pPr marL="285750" indent="-285750" defTabSz="1219170" fontAlgn="base">
              <a:spcBef>
                <a:spcPct val="0"/>
              </a:spcBef>
              <a:spcAft>
                <a:spcPct val="0"/>
              </a:spcAft>
              <a:buFont typeface="Wingdings" panose="05000000000000000000" pitchFamily="2" charset="2"/>
              <a:buChar char="§"/>
            </a:pPr>
            <a:endParaRPr lang="en-AU" dirty="0" smtClean="0">
              <a:solidFill>
                <a:srgbClr val="00ABC3">
                  <a:lumMod val="50000"/>
                </a:srgbClr>
              </a:solidFill>
              <a:latin typeface="Montserrat Light" charset="0"/>
              <a:ea typeface="ＭＳ Ｐゴシック" charset="0"/>
            </a:endParaRPr>
          </a:p>
        </p:txBody>
      </p:sp>
      <p:sp>
        <p:nvSpPr>
          <p:cNvPr id="2" name="Title 1"/>
          <p:cNvSpPr>
            <a:spLocks noGrp="1"/>
          </p:cNvSpPr>
          <p:nvPr>
            <p:ph type="title"/>
          </p:nvPr>
        </p:nvSpPr>
        <p:spPr>
          <a:xfrm>
            <a:off x="527380" y="654249"/>
            <a:ext cx="11026533" cy="662517"/>
          </a:xfrm>
        </p:spPr>
        <p:txBody>
          <a:bodyPr/>
          <a:lstStyle/>
          <a:p>
            <a:r>
              <a:rPr lang="en-AU" dirty="0"/>
              <a:t>Executive Summary</a:t>
            </a:r>
          </a:p>
        </p:txBody>
      </p:sp>
    </p:spTree>
    <p:extLst>
      <p:ext uri="{BB962C8B-B14F-4D97-AF65-F5344CB8AC3E}">
        <p14:creationId xmlns:p14="http://schemas.microsoft.com/office/powerpoint/2010/main" val="410405033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Coordinate Schools Schedule</a:t>
            </a:r>
            <a:endParaRPr lang="en-AU" dirty="0"/>
          </a:p>
        </p:txBody>
      </p:sp>
      <p:sp>
        <p:nvSpPr>
          <p:cNvPr id="3" name="Rectangle 2"/>
          <p:cNvSpPr/>
          <p:nvPr/>
        </p:nvSpPr>
        <p:spPr>
          <a:xfrm>
            <a:off x="5974813" y="3244334"/>
            <a:ext cx="242374" cy="369332"/>
          </a:xfrm>
          <a:prstGeom prst="rect">
            <a:avLst/>
          </a:prstGeom>
        </p:spPr>
        <p:txBody>
          <a:bodyPr wrap="none">
            <a:spAutoFit/>
          </a:bodyPr>
          <a:lstStyle/>
          <a:p>
            <a:r>
              <a:rPr lang="en-AU" dirty="0">
                <a:solidFill>
                  <a:srgbClr val="000000"/>
                </a:solidFill>
                <a:latin typeface="Times New Roman" panose="02020603050405020304" pitchFamily="18" charset="0"/>
              </a:rPr>
              <a:t> </a:t>
            </a:r>
            <a:endParaRPr lang="en-AU" dirty="0"/>
          </a:p>
        </p:txBody>
      </p:sp>
      <p:sp>
        <p:nvSpPr>
          <p:cNvPr id="4" name="Rectangle 3"/>
          <p:cNvSpPr/>
          <p:nvPr/>
        </p:nvSpPr>
        <p:spPr>
          <a:xfrm>
            <a:off x="5974813" y="3244334"/>
            <a:ext cx="306494" cy="369332"/>
          </a:xfrm>
          <a:prstGeom prst="rect">
            <a:avLst/>
          </a:prstGeom>
        </p:spPr>
        <p:txBody>
          <a:bodyPr wrap="none">
            <a:spAutoFit/>
          </a:bodyPr>
          <a:lstStyle/>
          <a:p>
            <a:r>
              <a:rPr lang="en-AU" dirty="0">
                <a:solidFill>
                  <a:srgbClr val="000000"/>
                </a:solidFill>
                <a:latin typeface="Times New Roman" panose="02020603050405020304" pitchFamily="18" charset="0"/>
              </a:rPr>
              <a:t> </a:t>
            </a:r>
            <a:r>
              <a:rPr lang="en-AU" dirty="0"/>
              <a:t> </a:t>
            </a:r>
          </a:p>
        </p:txBody>
      </p:sp>
      <p:grpSp>
        <p:nvGrpSpPr>
          <p:cNvPr id="5" name="Group 4"/>
          <p:cNvGrpSpPr/>
          <p:nvPr/>
        </p:nvGrpSpPr>
        <p:grpSpPr>
          <a:xfrm>
            <a:off x="527381" y="2385320"/>
            <a:ext cx="2693144" cy="2697587"/>
            <a:chOff x="416795" y="1815144"/>
            <a:chExt cx="4945170" cy="5034443"/>
          </a:xfrm>
        </p:grpSpPr>
        <p:pic>
          <p:nvPicPr>
            <p:cNvPr id="6" name="Picture 5"/>
            <p:cNvPicPr>
              <a:picLocks noChangeAspect="1"/>
            </p:cNvPicPr>
            <p:nvPr/>
          </p:nvPicPr>
          <p:blipFill>
            <a:blip r:embed="rId2"/>
            <a:stretch>
              <a:fillRect/>
            </a:stretch>
          </p:blipFill>
          <p:spPr>
            <a:xfrm>
              <a:off x="2482707" y="1815144"/>
              <a:ext cx="2879258" cy="2340000"/>
            </a:xfrm>
            <a:prstGeom prst="rect">
              <a:avLst/>
            </a:prstGeom>
            <a:ln>
              <a:solidFill>
                <a:schemeClr val="tx1"/>
              </a:solidFill>
            </a:ln>
          </p:spPr>
        </p:pic>
        <p:pic>
          <p:nvPicPr>
            <p:cNvPr id="7" name="Picture 6"/>
            <p:cNvPicPr>
              <a:picLocks noChangeAspect="1"/>
            </p:cNvPicPr>
            <p:nvPr/>
          </p:nvPicPr>
          <p:blipFill>
            <a:blip r:embed="rId3"/>
            <a:stretch>
              <a:fillRect/>
            </a:stretch>
          </p:blipFill>
          <p:spPr>
            <a:xfrm>
              <a:off x="2255735" y="2192461"/>
              <a:ext cx="2676529" cy="2340000"/>
            </a:xfrm>
            <a:prstGeom prst="rect">
              <a:avLst/>
            </a:prstGeom>
            <a:ln>
              <a:solidFill>
                <a:schemeClr val="tx1"/>
              </a:solidFill>
            </a:ln>
          </p:spPr>
        </p:pic>
        <p:pic>
          <p:nvPicPr>
            <p:cNvPr id="8" name="Picture 7"/>
            <p:cNvPicPr>
              <a:picLocks noChangeAspect="1"/>
            </p:cNvPicPr>
            <p:nvPr/>
          </p:nvPicPr>
          <p:blipFill>
            <a:blip r:embed="rId4"/>
            <a:stretch>
              <a:fillRect/>
            </a:stretch>
          </p:blipFill>
          <p:spPr>
            <a:xfrm>
              <a:off x="1973796" y="2577284"/>
              <a:ext cx="2713307" cy="2340000"/>
            </a:xfrm>
            <a:prstGeom prst="rect">
              <a:avLst/>
            </a:prstGeom>
            <a:ln>
              <a:solidFill>
                <a:schemeClr val="tx1"/>
              </a:solidFill>
            </a:ln>
          </p:spPr>
        </p:pic>
        <p:pic>
          <p:nvPicPr>
            <p:cNvPr id="9" name="Picture 8"/>
            <p:cNvPicPr>
              <a:picLocks noChangeAspect="1"/>
            </p:cNvPicPr>
            <p:nvPr/>
          </p:nvPicPr>
          <p:blipFill>
            <a:blip r:embed="rId5"/>
            <a:stretch>
              <a:fillRect/>
            </a:stretch>
          </p:blipFill>
          <p:spPr>
            <a:xfrm>
              <a:off x="1691858" y="2950631"/>
              <a:ext cx="2694818" cy="2340000"/>
            </a:xfrm>
            <a:prstGeom prst="rect">
              <a:avLst/>
            </a:prstGeom>
            <a:ln>
              <a:solidFill>
                <a:schemeClr val="tx1"/>
              </a:solidFill>
            </a:ln>
          </p:spPr>
        </p:pic>
        <p:pic>
          <p:nvPicPr>
            <p:cNvPr id="10" name="Picture 9"/>
            <p:cNvPicPr>
              <a:picLocks noChangeAspect="1"/>
            </p:cNvPicPr>
            <p:nvPr/>
          </p:nvPicPr>
          <p:blipFill>
            <a:blip r:embed="rId6"/>
            <a:stretch>
              <a:fillRect/>
            </a:stretch>
          </p:blipFill>
          <p:spPr>
            <a:xfrm>
              <a:off x="1431168" y="3326923"/>
              <a:ext cx="2671089" cy="2340000"/>
            </a:xfrm>
            <a:prstGeom prst="rect">
              <a:avLst/>
            </a:prstGeom>
            <a:ln>
              <a:solidFill>
                <a:schemeClr val="tx1"/>
              </a:solidFill>
            </a:ln>
          </p:spPr>
        </p:pic>
        <p:pic>
          <p:nvPicPr>
            <p:cNvPr id="11" name="Picture 10"/>
            <p:cNvPicPr>
              <a:picLocks noChangeAspect="1"/>
            </p:cNvPicPr>
            <p:nvPr/>
          </p:nvPicPr>
          <p:blipFill>
            <a:blip r:embed="rId7"/>
            <a:stretch>
              <a:fillRect/>
            </a:stretch>
          </p:blipFill>
          <p:spPr>
            <a:xfrm>
              <a:off x="1212507" y="3765416"/>
              <a:ext cx="2675564" cy="2340000"/>
            </a:xfrm>
            <a:prstGeom prst="rect">
              <a:avLst/>
            </a:prstGeom>
            <a:ln>
              <a:solidFill>
                <a:schemeClr val="tx1"/>
              </a:solidFill>
            </a:ln>
          </p:spPr>
        </p:pic>
        <p:pic>
          <p:nvPicPr>
            <p:cNvPr id="12" name="Picture 11"/>
            <p:cNvPicPr>
              <a:picLocks noChangeAspect="1"/>
            </p:cNvPicPr>
            <p:nvPr/>
          </p:nvPicPr>
          <p:blipFill>
            <a:blip r:embed="rId8"/>
            <a:stretch>
              <a:fillRect/>
            </a:stretch>
          </p:blipFill>
          <p:spPr>
            <a:xfrm>
              <a:off x="828708" y="4141708"/>
              <a:ext cx="2702089" cy="2340000"/>
            </a:xfrm>
            <a:prstGeom prst="rect">
              <a:avLst/>
            </a:prstGeom>
            <a:ln>
              <a:solidFill>
                <a:schemeClr val="tx1"/>
              </a:solidFill>
            </a:ln>
          </p:spPr>
        </p:pic>
        <p:pic>
          <p:nvPicPr>
            <p:cNvPr id="13" name="Picture 12"/>
            <p:cNvPicPr>
              <a:picLocks noChangeAspect="1"/>
            </p:cNvPicPr>
            <p:nvPr/>
          </p:nvPicPr>
          <p:blipFill>
            <a:blip r:embed="rId9"/>
            <a:stretch>
              <a:fillRect/>
            </a:stretch>
          </p:blipFill>
          <p:spPr>
            <a:xfrm>
              <a:off x="416795" y="4509587"/>
              <a:ext cx="2690327" cy="2340000"/>
            </a:xfrm>
            <a:prstGeom prst="rect">
              <a:avLst/>
            </a:prstGeom>
            <a:ln>
              <a:solidFill>
                <a:schemeClr val="tx1"/>
              </a:solidFill>
            </a:ln>
          </p:spPr>
        </p:pic>
      </p:grpSp>
      <p:sp>
        <p:nvSpPr>
          <p:cNvPr id="17" name="TextBox 16"/>
          <p:cNvSpPr txBox="1"/>
          <p:nvPr/>
        </p:nvSpPr>
        <p:spPr>
          <a:xfrm>
            <a:off x="3547599" y="2467613"/>
            <a:ext cx="3197561" cy="2862322"/>
          </a:xfrm>
          <a:prstGeom prst="rect">
            <a:avLst/>
          </a:prstGeom>
          <a:noFill/>
        </p:spPr>
        <p:txBody>
          <a:bodyPr wrap="square" rtlCol="0">
            <a:spAutoFit/>
          </a:bodyPr>
          <a:lstStyle/>
          <a:p>
            <a:pPr marL="285750" indent="-285750">
              <a:buFont typeface="Arial" panose="020B0604020202020204" pitchFamily="34" charset="0"/>
              <a:buChar char="•"/>
            </a:pPr>
            <a:r>
              <a:rPr lang="en-AU" dirty="0" smtClean="0"/>
              <a:t>Separated by terms;</a:t>
            </a:r>
          </a:p>
          <a:p>
            <a:pPr marL="285750" indent="-285750">
              <a:buFont typeface="Arial" panose="020B0604020202020204" pitchFamily="34" charset="0"/>
              <a:buChar char="•"/>
            </a:pPr>
            <a:r>
              <a:rPr lang="en-AU" dirty="0" smtClean="0"/>
              <a:t>Ordered by type of school and week of roll-out</a:t>
            </a:r>
          </a:p>
          <a:p>
            <a:pPr marL="285750" indent="-285750">
              <a:buFont typeface="Arial" panose="020B0604020202020204" pitchFamily="34" charset="0"/>
              <a:buChar char="•"/>
            </a:pPr>
            <a:r>
              <a:rPr lang="en-AU" dirty="0" smtClean="0"/>
              <a:t>Separating out professional learning</a:t>
            </a:r>
          </a:p>
          <a:p>
            <a:pPr marL="285750" indent="-285750">
              <a:buFont typeface="Arial" panose="020B0604020202020204" pitchFamily="34" charset="0"/>
              <a:buChar char="•"/>
            </a:pPr>
            <a:r>
              <a:rPr lang="en-AU" dirty="0" smtClean="0"/>
              <a:t>Required vs. optional highlighted</a:t>
            </a:r>
          </a:p>
          <a:p>
            <a:pPr marL="285750" indent="-285750">
              <a:buFont typeface="Arial" panose="020B0604020202020204" pitchFamily="34" charset="0"/>
              <a:buChar char="•"/>
            </a:pPr>
            <a:r>
              <a:rPr lang="en-AU" dirty="0" smtClean="0"/>
              <a:t>Key contacts &amp; links</a:t>
            </a:r>
          </a:p>
          <a:p>
            <a:pPr marL="285750" indent="-285750">
              <a:buFont typeface="Arial" panose="020B0604020202020204" pitchFamily="34" charset="0"/>
              <a:buChar char="•"/>
            </a:pPr>
            <a:r>
              <a:rPr lang="en-AU" dirty="0" smtClean="0"/>
              <a:t>Time to</a:t>
            </a:r>
          </a:p>
          <a:p>
            <a:pPr marL="285750" indent="-285750">
              <a:buFont typeface="Arial" panose="020B0604020202020204" pitchFamily="34" charset="0"/>
              <a:buChar char="•"/>
            </a:pPr>
            <a:endParaRPr lang="en-AU" dirty="0"/>
          </a:p>
        </p:txBody>
      </p:sp>
      <p:sp>
        <p:nvSpPr>
          <p:cNvPr id="18" name="TextBox 17"/>
          <p:cNvSpPr txBox="1"/>
          <p:nvPr/>
        </p:nvSpPr>
        <p:spPr>
          <a:xfrm>
            <a:off x="1190904" y="1740119"/>
            <a:ext cx="3096847" cy="369332"/>
          </a:xfrm>
          <a:prstGeom prst="rect">
            <a:avLst/>
          </a:prstGeom>
          <a:noFill/>
        </p:spPr>
        <p:txBody>
          <a:bodyPr wrap="square" rtlCol="0">
            <a:spAutoFit/>
          </a:bodyPr>
          <a:lstStyle/>
          <a:p>
            <a:r>
              <a:rPr lang="en-AU" b="1" dirty="0" smtClean="0"/>
              <a:t>Version 1</a:t>
            </a:r>
            <a:endParaRPr lang="en-AU" b="1" dirty="0"/>
          </a:p>
        </p:txBody>
      </p:sp>
      <p:sp>
        <p:nvSpPr>
          <p:cNvPr id="19" name="TextBox 18"/>
          <p:cNvSpPr txBox="1"/>
          <p:nvPr/>
        </p:nvSpPr>
        <p:spPr>
          <a:xfrm>
            <a:off x="3648313" y="1551401"/>
            <a:ext cx="3096847" cy="369332"/>
          </a:xfrm>
          <a:prstGeom prst="rect">
            <a:avLst/>
          </a:prstGeom>
          <a:noFill/>
        </p:spPr>
        <p:txBody>
          <a:bodyPr wrap="square" rtlCol="0">
            <a:spAutoFit/>
          </a:bodyPr>
          <a:lstStyle/>
          <a:p>
            <a:r>
              <a:rPr lang="en-AU" b="1" dirty="0" smtClean="0"/>
              <a:t>Version 2</a:t>
            </a:r>
            <a:endParaRPr lang="en-AU" b="1" dirty="0"/>
          </a:p>
        </p:txBody>
      </p:sp>
      <p:sp>
        <p:nvSpPr>
          <p:cNvPr id="20" name="TextBox 19"/>
          <p:cNvSpPr txBox="1"/>
          <p:nvPr/>
        </p:nvSpPr>
        <p:spPr>
          <a:xfrm>
            <a:off x="6904128" y="1537597"/>
            <a:ext cx="3096847" cy="369332"/>
          </a:xfrm>
          <a:prstGeom prst="rect">
            <a:avLst/>
          </a:prstGeom>
          <a:noFill/>
        </p:spPr>
        <p:txBody>
          <a:bodyPr wrap="square" rtlCol="0">
            <a:spAutoFit/>
          </a:bodyPr>
          <a:lstStyle/>
          <a:p>
            <a:r>
              <a:rPr lang="en-AU" b="1" dirty="0" smtClean="0"/>
              <a:t>Version 3</a:t>
            </a:r>
            <a:endParaRPr lang="en-AU" b="1" dirty="0"/>
          </a:p>
        </p:txBody>
      </p:sp>
      <p:sp>
        <p:nvSpPr>
          <p:cNvPr id="21" name="TextBox 20"/>
          <p:cNvSpPr txBox="1"/>
          <p:nvPr/>
        </p:nvSpPr>
        <p:spPr>
          <a:xfrm>
            <a:off x="6904128" y="2379726"/>
            <a:ext cx="2360161" cy="3693319"/>
          </a:xfrm>
          <a:prstGeom prst="rect">
            <a:avLst/>
          </a:prstGeom>
          <a:noFill/>
        </p:spPr>
        <p:txBody>
          <a:bodyPr wrap="square" rtlCol="0">
            <a:spAutoFit/>
          </a:bodyPr>
          <a:lstStyle/>
          <a:p>
            <a:pPr marL="285750" indent="-285750">
              <a:buFont typeface="Arial" panose="020B0604020202020204" pitchFamily="34" charset="0"/>
              <a:buChar char="•"/>
            </a:pPr>
            <a:r>
              <a:rPr lang="en-AU" dirty="0" smtClean="0"/>
              <a:t>Printable on A4</a:t>
            </a:r>
          </a:p>
          <a:p>
            <a:pPr marL="285750" indent="-285750">
              <a:buFont typeface="Arial" panose="020B0604020202020204" pitchFamily="34" charset="0"/>
              <a:buChar char="•"/>
            </a:pPr>
            <a:r>
              <a:rPr lang="en-AU" dirty="0" smtClean="0"/>
              <a:t>Detailed executive review leading to far less content </a:t>
            </a:r>
          </a:p>
          <a:p>
            <a:pPr marL="285750" indent="-285750">
              <a:buFont typeface="Arial" panose="020B0604020202020204" pitchFamily="34" charset="0"/>
              <a:buChar char="•"/>
            </a:pPr>
            <a:r>
              <a:rPr lang="en-AU" dirty="0" smtClean="0"/>
              <a:t>Just 3 mandatory (those in body of email)</a:t>
            </a:r>
          </a:p>
          <a:p>
            <a:pPr marL="285750" indent="-285750">
              <a:buFont typeface="Arial" panose="020B0604020202020204" pitchFamily="34" charset="0"/>
              <a:buChar char="•"/>
            </a:pPr>
            <a:r>
              <a:rPr lang="en-AU" dirty="0" smtClean="0"/>
              <a:t>Separated into clearer categories</a:t>
            </a:r>
          </a:p>
          <a:p>
            <a:pPr marL="285750" indent="-285750">
              <a:buFont typeface="Arial" panose="020B0604020202020204" pitchFamily="34" charset="0"/>
              <a:buChar char="•"/>
            </a:pPr>
            <a:endParaRPr lang="en-AU" dirty="0" smtClean="0"/>
          </a:p>
          <a:p>
            <a:pPr marL="285750" indent="-285750">
              <a:buFont typeface="Arial" panose="020B0604020202020204" pitchFamily="34" charset="0"/>
              <a:buChar char="•"/>
            </a:pPr>
            <a:endParaRPr lang="en-AU" dirty="0" smtClean="0"/>
          </a:p>
          <a:p>
            <a:pPr marL="285750" indent="-285750">
              <a:buFont typeface="Arial" panose="020B0604020202020204" pitchFamily="34" charset="0"/>
              <a:buChar char="•"/>
            </a:pPr>
            <a:endParaRPr lang="en-AU" dirty="0" smtClean="0"/>
          </a:p>
          <a:p>
            <a:pPr marL="285750" indent="-285750">
              <a:buFont typeface="Arial" panose="020B0604020202020204" pitchFamily="34" charset="0"/>
              <a:buChar char="•"/>
            </a:pPr>
            <a:endParaRPr lang="en-AU" dirty="0"/>
          </a:p>
        </p:txBody>
      </p:sp>
      <p:sp>
        <p:nvSpPr>
          <p:cNvPr id="22" name="TextBox 21"/>
          <p:cNvSpPr txBox="1"/>
          <p:nvPr/>
        </p:nvSpPr>
        <p:spPr>
          <a:xfrm>
            <a:off x="9782643" y="1561796"/>
            <a:ext cx="3096847" cy="369332"/>
          </a:xfrm>
          <a:prstGeom prst="rect">
            <a:avLst/>
          </a:prstGeom>
          <a:noFill/>
        </p:spPr>
        <p:txBody>
          <a:bodyPr wrap="square" rtlCol="0">
            <a:spAutoFit/>
          </a:bodyPr>
          <a:lstStyle/>
          <a:p>
            <a:r>
              <a:rPr lang="en-AU" b="1" dirty="0" smtClean="0"/>
              <a:t>Still to come..</a:t>
            </a:r>
            <a:endParaRPr lang="en-AU" b="1" dirty="0"/>
          </a:p>
        </p:txBody>
      </p:sp>
      <p:sp>
        <p:nvSpPr>
          <p:cNvPr id="23" name="TextBox 22"/>
          <p:cNvSpPr txBox="1"/>
          <p:nvPr/>
        </p:nvSpPr>
        <p:spPr>
          <a:xfrm>
            <a:off x="9740348" y="2409750"/>
            <a:ext cx="2360161" cy="3416320"/>
          </a:xfrm>
          <a:prstGeom prst="rect">
            <a:avLst/>
          </a:prstGeom>
          <a:noFill/>
        </p:spPr>
        <p:txBody>
          <a:bodyPr wrap="square" rtlCol="0">
            <a:spAutoFit/>
          </a:bodyPr>
          <a:lstStyle/>
          <a:p>
            <a:pPr marL="285750" indent="-285750">
              <a:buFont typeface="Arial" panose="020B0604020202020204" pitchFamily="34" charset="0"/>
              <a:buChar char="•"/>
            </a:pPr>
            <a:r>
              <a:rPr lang="en-AU" dirty="0" smtClean="0"/>
              <a:t>Calendar</a:t>
            </a:r>
          </a:p>
          <a:p>
            <a:pPr marL="285750" indent="-285750">
              <a:buFont typeface="Arial" panose="020B0604020202020204" pitchFamily="34" charset="0"/>
              <a:buChar char="•"/>
            </a:pPr>
            <a:r>
              <a:rPr lang="en-AU" dirty="0" smtClean="0"/>
              <a:t>Tailored content</a:t>
            </a:r>
          </a:p>
          <a:p>
            <a:pPr marL="285750" indent="-285750">
              <a:buFont typeface="Arial" panose="020B0604020202020204" pitchFamily="34" charset="0"/>
              <a:buChar char="•"/>
            </a:pPr>
            <a:r>
              <a:rPr lang="en-AU" dirty="0" smtClean="0"/>
              <a:t>Including NESA/other commitments</a:t>
            </a:r>
          </a:p>
          <a:p>
            <a:pPr marL="285750" indent="-285750">
              <a:buFont typeface="Arial" panose="020B0604020202020204" pitchFamily="34" charset="0"/>
              <a:buChar char="•"/>
            </a:pPr>
            <a:r>
              <a:rPr lang="en-AU" dirty="0" smtClean="0"/>
              <a:t>Mandatory link closely to key priorities</a:t>
            </a:r>
          </a:p>
          <a:p>
            <a:pPr marL="285750" indent="-285750">
              <a:buFont typeface="Arial" panose="020B0604020202020204" pitchFamily="34" charset="0"/>
              <a:buChar char="•"/>
            </a:pPr>
            <a:endParaRPr lang="en-AU" dirty="0" smtClean="0"/>
          </a:p>
          <a:p>
            <a:pPr marL="285750" indent="-285750">
              <a:buFont typeface="Arial" panose="020B0604020202020204" pitchFamily="34" charset="0"/>
              <a:buChar char="•"/>
            </a:pPr>
            <a:endParaRPr lang="en-AU" dirty="0" smtClean="0"/>
          </a:p>
          <a:p>
            <a:pPr marL="285750" indent="-285750">
              <a:buFont typeface="Arial" panose="020B0604020202020204" pitchFamily="34" charset="0"/>
              <a:buChar char="•"/>
            </a:pPr>
            <a:endParaRPr lang="en-AU" dirty="0" smtClean="0"/>
          </a:p>
          <a:p>
            <a:pPr marL="285750" indent="-285750">
              <a:buFont typeface="Arial" panose="020B0604020202020204" pitchFamily="34" charset="0"/>
              <a:buChar char="•"/>
            </a:pPr>
            <a:endParaRPr lang="en-AU" dirty="0"/>
          </a:p>
        </p:txBody>
      </p:sp>
      <p:sp>
        <p:nvSpPr>
          <p:cNvPr id="24" name="Isosceles Triangle 23"/>
          <p:cNvSpPr/>
          <p:nvPr/>
        </p:nvSpPr>
        <p:spPr>
          <a:xfrm rot="5400000">
            <a:off x="8526595" y="3486014"/>
            <a:ext cx="2158211" cy="269294"/>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smtClean="0"/>
          </a:p>
        </p:txBody>
      </p:sp>
    </p:spTree>
    <p:extLst>
      <p:ext uri="{BB962C8B-B14F-4D97-AF65-F5344CB8AC3E}">
        <p14:creationId xmlns:p14="http://schemas.microsoft.com/office/powerpoint/2010/main" val="152854785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0" name="think-cell Slide" r:id="rId6" imgW="501" imgH="502" progId="TCLayout.ActiveDocument.1">
                  <p:embed/>
                </p:oleObj>
              </mc:Choice>
              <mc:Fallback>
                <p:oleObj name="think-cell Slide" r:id="rId6" imgW="501" imgH="502"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AU" sz="4000"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a:xfrm>
            <a:off x="527381" y="654250"/>
            <a:ext cx="11041227" cy="662517"/>
          </a:xfrm>
        </p:spPr>
        <p:txBody>
          <a:bodyPr>
            <a:normAutofit/>
          </a:bodyPr>
          <a:lstStyle/>
          <a:p>
            <a:r>
              <a:rPr lang="en-AU" dirty="0" smtClean="0"/>
              <a:t>Time saved department-wide to date</a:t>
            </a:r>
            <a:endParaRPr lang="en-AU" dirty="0"/>
          </a:p>
        </p:txBody>
      </p:sp>
      <p:grpSp>
        <p:nvGrpSpPr>
          <p:cNvPr id="87" name="Group 86"/>
          <p:cNvGrpSpPr/>
          <p:nvPr/>
        </p:nvGrpSpPr>
        <p:grpSpPr>
          <a:xfrm>
            <a:off x="428643" y="1793431"/>
            <a:ext cx="1694734" cy="1199754"/>
            <a:chOff x="395535" y="1399513"/>
            <a:chExt cx="1546670" cy="879900"/>
          </a:xfrm>
        </p:grpSpPr>
        <p:sp>
          <p:nvSpPr>
            <p:cNvPr id="18" name="Rectangle 17"/>
            <p:cNvSpPr>
              <a:spLocks/>
            </p:cNvSpPr>
            <p:nvPr/>
          </p:nvSpPr>
          <p:spPr>
            <a:xfrm>
              <a:off x="395535" y="1399513"/>
              <a:ext cx="1546670" cy="8214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1400" dirty="0">
                <a:solidFill>
                  <a:srgbClr val="000000"/>
                </a:solidFill>
                <a:latin typeface="Arial" panose="020B0604020202020204" pitchFamily="34" charset="0"/>
              </a:endParaRPr>
            </a:p>
          </p:txBody>
        </p:sp>
        <p:sp>
          <p:nvSpPr>
            <p:cNvPr id="15" name="TextBox 14"/>
            <p:cNvSpPr txBox="1">
              <a:spLocks/>
            </p:cNvSpPr>
            <p:nvPr/>
          </p:nvSpPr>
          <p:spPr>
            <a:xfrm>
              <a:off x="409800" y="1579671"/>
              <a:ext cx="1490132" cy="699742"/>
            </a:xfrm>
            <a:prstGeom prst="rect">
              <a:avLst/>
            </a:prstGeom>
            <a:noFill/>
          </p:spPr>
          <p:txBody>
            <a:bodyPr wrap="square" rtlCol="0" anchor="ctr">
              <a:spAutoFit/>
            </a:bodyPr>
            <a:lstStyle/>
            <a:p>
              <a:pPr algn="ctr"/>
              <a:r>
                <a:rPr lang="en-AU" sz="1400" b="1" dirty="0" smtClean="0">
                  <a:solidFill>
                    <a:schemeClr val="bg1"/>
                  </a:solidFill>
                </a:rPr>
                <a:t>~ 4,900 – 12,000 hours per year saved </a:t>
              </a:r>
            </a:p>
            <a:p>
              <a:pPr algn="ctr"/>
              <a:endParaRPr lang="en-AU" sz="1400" b="1" dirty="0">
                <a:solidFill>
                  <a:schemeClr val="bg1"/>
                </a:solidFill>
              </a:endParaRPr>
            </a:p>
          </p:txBody>
        </p:sp>
      </p:grpSp>
      <p:cxnSp>
        <p:nvCxnSpPr>
          <p:cNvPr id="56" name="Straight Connector 55"/>
          <p:cNvCxnSpPr>
            <a:cxnSpLocks/>
          </p:cNvCxnSpPr>
          <p:nvPr/>
        </p:nvCxnSpPr>
        <p:spPr>
          <a:xfrm>
            <a:off x="428644" y="2933790"/>
            <a:ext cx="11035058" cy="0"/>
          </a:xfrm>
          <a:prstGeom prst="line">
            <a:avLst/>
          </a:prstGeom>
          <a:ln>
            <a:prstDash val="solid"/>
          </a:ln>
        </p:spPr>
        <p:style>
          <a:lnRef idx="1">
            <a:schemeClr val="accent1"/>
          </a:lnRef>
          <a:fillRef idx="0">
            <a:schemeClr val="accent1"/>
          </a:fillRef>
          <a:effectRef idx="0">
            <a:schemeClr val="accent1"/>
          </a:effectRef>
          <a:fontRef idx="minor">
            <a:schemeClr val="tx1"/>
          </a:fontRef>
        </p:style>
      </p:cxnSp>
      <p:sp>
        <p:nvSpPr>
          <p:cNvPr id="19" name="Rectangle 18"/>
          <p:cNvSpPr>
            <a:spLocks/>
          </p:cNvSpPr>
          <p:nvPr/>
        </p:nvSpPr>
        <p:spPr>
          <a:xfrm>
            <a:off x="428643" y="2962876"/>
            <a:ext cx="1694734" cy="17530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1400" dirty="0">
              <a:solidFill>
                <a:srgbClr val="000000"/>
              </a:solidFill>
              <a:latin typeface="Arial" panose="020B0604020202020204" pitchFamily="34" charset="0"/>
            </a:endParaRPr>
          </a:p>
        </p:txBody>
      </p:sp>
      <p:sp>
        <p:nvSpPr>
          <p:cNvPr id="16" name="TextBox 15"/>
          <p:cNvSpPr txBox="1">
            <a:spLocks/>
          </p:cNvSpPr>
          <p:nvPr/>
        </p:nvSpPr>
        <p:spPr>
          <a:xfrm>
            <a:off x="488282" y="3526580"/>
            <a:ext cx="1439355" cy="738664"/>
          </a:xfrm>
          <a:prstGeom prst="rect">
            <a:avLst/>
          </a:prstGeom>
          <a:noFill/>
        </p:spPr>
        <p:txBody>
          <a:bodyPr wrap="square" rtlCol="0" anchor="ctr">
            <a:spAutoFit/>
          </a:bodyPr>
          <a:lstStyle/>
          <a:p>
            <a:pPr algn="ctr"/>
            <a:r>
              <a:rPr lang="en-AU" sz="1400" b="1" dirty="0" smtClean="0">
                <a:solidFill>
                  <a:schemeClr val="bg1"/>
                </a:solidFill>
              </a:rPr>
              <a:t>~ 20,000  - 33,000 hours saved</a:t>
            </a:r>
            <a:endParaRPr lang="en-AU" sz="1400" b="1" dirty="0">
              <a:solidFill>
                <a:schemeClr val="bg1"/>
              </a:solidFill>
            </a:endParaRPr>
          </a:p>
        </p:txBody>
      </p:sp>
      <p:sp>
        <p:nvSpPr>
          <p:cNvPr id="3" name="TextBox 2"/>
          <p:cNvSpPr txBox="1">
            <a:spLocks/>
          </p:cNvSpPr>
          <p:nvPr/>
        </p:nvSpPr>
        <p:spPr>
          <a:xfrm>
            <a:off x="2254764" y="1436123"/>
            <a:ext cx="4289652" cy="215444"/>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defTabSz="1625519"/>
            <a:r>
              <a:rPr lang="en-AU" sz="1400" b="1" dirty="0" smtClean="0">
                <a:solidFill>
                  <a:prstClr val="black"/>
                </a:solidFill>
                <a:latin typeface="Montserrat"/>
              </a:rPr>
              <a:t>Area</a:t>
            </a:r>
            <a:endParaRPr lang="en-AU" sz="1400" b="1" dirty="0">
              <a:solidFill>
                <a:prstClr val="black"/>
              </a:solidFill>
              <a:latin typeface="Montserrat"/>
            </a:endParaRPr>
          </a:p>
        </p:txBody>
      </p:sp>
      <p:sp>
        <p:nvSpPr>
          <p:cNvPr id="37" name="TextBox 36"/>
          <p:cNvSpPr txBox="1">
            <a:spLocks/>
          </p:cNvSpPr>
          <p:nvPr/>
        </p:nvSpPr>
        <p:spPr>
          <a:xfrm>
            <a:off x="428643" y="1340256"/>
            <a:ext cx="1694734" cy="430887"/>
          </a:xfrm>
          <a:prstGeom prst="rect">
            <a:avLst/>
          </a:prstGeom>
          <a:solidFill>
            <a:schemeClr val="bg1"/>
          </a:solidFill>
          <a:extLst/>
        </p:spPr>
        <p:txBody>
          <a:bodyPr vert="horz" wrap="square" lIns="0" tIns="0" rIns="0" bIns="0" rtlCol="0">
            <a:spAutoFit/>
          </a:bodyPr>
          <a:lstStyle/>
          <a:p>
            <a:pPr algn="ctr" defTabSz="1625519"/>
            <a:r>
              <a:rPr lang="en-AU" sz="1400" b="1" dirty="0" smtClean="0">
                <a:solidFill>
                  <a:prstClr val="black"/>
                </a:solidFill>
                <a:latin typeface="Montserrat"/>
              </a:rPr>
              <a:t>System-wide</a:t>
            </a:r>
          </a:p>
          <a:p>
            <a:pPr algn="ctr" defTabSz="1625519"/>
            <a:r>
              <a:rPr lang="en-AU" sz="1400" b="1" dirty="0">
                <a:solidFill>
                  <a:prstClr val="black"/>
                </a:solidFill>
                <a:latin typeface="Montserrat"/>
              </a:rPr>
              <a:t>t</a:t>
            </a:r>
            <a:r>
              <a:rPr lang="en-AU" sz="1400" b="1" dirty="0" smtClean="0">
                <a:solidFill>
                  <a:prstClr val="black"/>
                </a:solidFill>
                <a:latin typeface="Montserrat"/>
              </a:rPr>
              <a:t>ime saved (est.)</a:t>
            </a:r>
            <a:endParaRPr lang="en-AU" sz="1400" b="1" dirty="0">
              <a:solidFill>
                <a:prstClr val="black"/>
              </a:solidFill>
              <a:latin typeface="Montserrat"/>
            </a:endParaRPr>
          </a:p>
        </p:txBody>
      </p:sp>
      <p:cxnSp>
        <p:nvCxnSpPr>
          <p:cNvPr id="21" name="Straight Connector 20"/>
          <p:cNvCxnSpPr>
            <a:cxnSpLocks/>
          </p:cNvCxnSpPr>
          <p:nvPr/>
        </p:nvCxnSpPr>
        <p:spPr>
          <a:xfrm>
            <a:off x="9807229" y="1710149"/>
            <a:ext cx="1761379" cy="1408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Box 21"/>
          <p:cNvSpPr txBox="1">
            <a:spLocks/>
          </p:cNvSpPr>
          <p:nvPr/>
        </p:nvSpPr>
        <p:spPr>
          <a:xfrm>
            <a:off x="9807229" y="1432856"/>
            <a:ext cx="557845" cy="21544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rtlCol="0">
            <a:spAutoFit/>
          </a:bodyPr>
          <a:lstStyle/>
          <a:p>
            <a:pPr defTabSz="1625519"/>
            <a:r>
              <a:rPr lang="en-AU" sz="1400" b="1" dirty="0" smtClean="0">
                <a:solidFill>
                  <a:prstClr val="black"/>
                </a:solidFill>
                <a:latin typeface="Montserrat"/>
              </a:rPr>
              <a:t>Owner</a:t>
            </a:r>
            <a:endParaRPr lang="en-AU" sz="1400" b="1" dirty="0">
              <a:solidFill>
                <a:prstClr val="black"/>
              </a:solidFill>
              <a:latin typeface="Montserrat"/>
            </a:endParaRPr>
          </a:p>
        </p:txBody>
      </p:sp>
      <p:sp>
        <p:nvSpPr>
          <p:cNvPr id="24" name="TextBox 23"/>
          <p:cNvSpPr txBox="1">
            <a:spLocks/>
          </p:cNvSpPr>
          <p:nvPr/>
        </p:nvSpPr>
        <p:spPr>
          <a:xfrm>
            <a:off x="9807229" y="1744486"/>
            <a:ext cx="3054301" cy="215444"/>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defTabSz="1625519"/>
            <a:r>
              <a:rPr lang="en-AU" sz="1400" dirty="0" smtClean="0"/>
              <a:t>Murat Dizdar</a:t>
            </a:r>
            <a:endParaRPr lang="en-AU" sz="1400" dirty="0"/>
          </a:p>
        </p:txBody>
      </p:sp>
      <p:sp>
        <p:nvSpPr>
          <p:cNvPr id="26" name="Rectangle 25"/>
          <p:cNvSpPr>
            <a:spLocks/>
          </p:cNvSpPr>
          <p:nvPr/>
        </p:nvSpPr>
        <p:spPr>
          <a:xfrm>
            <a:off x="428643" y="4776297"/>
            <a:ext cx="1694734" cy="64633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AU" sz="1400" b="1" dirty="0" smtClean="0">
                <a:solidFill>
                  <a:schemeClr val="bg1"/>
                </a:solidFill>
              </a:rPr>
              <a:t>~40,000 </a:t>
            </a:r>
            <a:r>
              <a:rPr lang="en-AU" sz="1400" b="1" dirty="0">
                <a:solidFill>
                  <a:schemeClr val="bg1"/>
                </a:solidFill>
              </a:rPr>
              <a:t>hours saved</a:t>
            </a:r>
          </a:p>
        </p:txBody>
      </p:sp>
      <p:sp>
        <p:nvSpPr>
          <p:cNvPr id="29" name="TextBox 28"/>
          <p:cNvSpPr txBox="1">
            <a:spLocks/>
          </p:cNvSpPr>
          <p:nvPr/>
        </p:nvSpPr>
        <p:spPr>
          <a:xfrm>
            <a:off x="9807228" y="2987776"/>
            <a:ext cx="3054301" cy="215444"/>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defTabSz="1625519"/>
            <a:r>
              <a:rPr lang="en-AU" sz="1400" dirty="0" smtClean="0"/>
              <a:t>Jenny Donovan</a:t>
            </a:r>
            <a:endParaRPr lang="en-AU" sz="1400" dirty="0"/>
          </a:p>
        </p:txBody>
      </p:sp>
      <p:sp>
        <p:nvSpPr>
          <p:cNvPr id="30" name="TextBox 29"/>
          <p:cNvSpPr txBox="1">
            <a:spLocks/>
          </p:cNvSpPr>
          <p:nvPr/>
        </p:nvSpPr>
        <p:spPr>
          <a:xfrm>
            <a:off x="9807227" y="4776297"/>
            <a:ext cx="3054301" cy="215444"/>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defTabSz="1625519"/>
            <a:r>
              <a:rPr lang="en-AU" sz="1400" dirty="0" smtClean="0"/>
              <a:t>Georgina Harrison</a:t>
            </a:r>
            <a:endParaRPr lang="en-AU" sz="1400" dirty="0"/>
          </a:p>
        </p:txBody>
      </p:sp>
      <p:sp>
        <p:nvSpPr>
          <p:cNvPr id="23" name="TextBox 22"/>
          <p:cNvSpPr txBox="1">
            <a:spLocks/>
          </p:cNvSpPr>
          <p:nvPr/>
        </p:nvSpPr>
        <p:spPr>
          <a:xfrm>
            <a:off x="2254764" y="1793438"/>
            <a:ext cx="4289652" cy="861774"/>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defTabSz="1625519"/>
            <a:r>
              <a:rPr lang="en-AU" sz="1400" b="1" dirty="0"/>
              <a:t>School Profile </a:t>
            </a:r>
            <a:r>
              <a:rPr lang="en-AU" sz="1400" b="1" dirty="0" smtClean="0"/>
              <a:t>– </a:t>
            </a:r>
            <a:r>
              <a:rPr lang="en-AU" sz="1400" dirty="0" smtClean="0"/>
              <a:t>confirmed that schools no longer required to do school profile unless a Minister visit is requested. Directors will be required to support consolidation of information to limit impact on schools</a:t>
            </a:r>
            <a:endParaRPr lang="en-AU" sz="1400" dirty="0"/>
          </a:p>
        </p:txBody>
      </p:sp>
      <p:sp>
        <p:nvSpPr>
          <p:cNvPr id="35" name="TextBox 34"/>
          <p:cNvSpPr txBox="1">
            <a:spLocks/>
          </p:cNvSpPr>
          <p:nvPr/>
        </p:nvSpPr>
        <p:spPr>
          <a:xfrm>
            <a:off x="2254764" y="2992372"/>
            <a:ext cx="4289652" cy="1723549"/>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defTabSz="1625519"/>
            <a:r>
              <a:rPr lang="en-AU" sz="1400" b="1" dirty="0"/>
              <a:t>Scout</a:t>
            </a:r>
            <a:r>
              <a:rPr lang="en-AU" sz="1400" dirty="0"/>
              <a:t> – rollout to all teachers  (30,000 initially up to 50,000</a:t>
            </a:r>
            <a:r>
              <a:rPr lang="en-AU" sz="1400" dirty="0" smtClean="0"/>
              <a:t>);</a:t>
            </a:r>
          </a:p>
          <a:p>
            <a:pPr marL="285750" indent="-285750" defTabSz="1625519">
              <a:buFont typeface="Arial" panose="020B0604020202020204" pitchFamily="34" charset="0"/>
              <a:buChar char="•"/>
            </a:pPr>
            <a:r>
              <a:rPr lang="en-AU" sz="1400" dirty="0" smtClean="0"/>
              <a:t>Reduced </a:t>
            </a:r>
            <a:r>
              <a:rPr lang="en-AU" sz="1400" dirty="0"/>
              <a:t>60 minute compliance/access training for all teachers to 15-20 </a:t>
            </a:r>
            <a:r>
              <a:rPr lang="en-AU" sz="1400" dirty="0" smtClean="0"/>
              <a:t>minutes; </a:t>
            </a:r>
          </a:p>
          <a:p>
            <a:pPr marL="285750" indent="-285750" defTabSz="1625519">
              <a:buFont typeface="Arial" panose="020B0604020202020204" pitchFamily="34" charset="0"/>
              <a:buChar char="•"/>
            </a:pPr>
            <a:r>
              <a:rPr lang="en-AU" sz="1400" dirty="0" smtClean="0"/>
              <a:t>Ongoing efforts to enhance functionality and improve ease of use</a:t>
            </a:r>
          </a:p>
          <a:p>
            <a:pPr marL="285750" indent="-285750" defTabSz="1625519">
              <a:buFont typeface="Arial" panose="020B0604020202020204" pitchFamily="34" charset="0"/>
              <a:buChar char="•"/>
            </a:pPr>
            <a:r>
              <a:rPr lang="en-AU" sz="1400" dirty="0" smtClean="0">
                <a:solidFill>
                  <a:prstClr val="black"/>
                </a:solidFill>
              </a:rPr>
              <a:t>Solution in train to reduce wait time from approval to access from 3 days to 0 days.</a:t>
            </a:r>
          </a:p>
        </p:txBody>
      </p:sp>
      <p:cxnSp>
        <p:nvCxnSpPr>
          <p:cNvPr id="4" name="Straight Connector 3"/>
          <p:cNvCxnSpPr>
            <a:cxnSpLocks/>
          </p:cNvCxnSpPr>
          <p:nvPr/>
        </p:nvCxnSpPr>
        <p:spPr>
          <a:xfrm>
            <a:off x="2254764" y="1724236"/>
            <a:ext cx="428965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TextBox 26"/>
          <p:cNvSpPr txBox="1">
            <a:spLocks/>
          </p:cNvSpPr>
          <p:nvPr/>
        </p:nvSpPr>
        <p:spPr>
          <a:xfrm>
            <a:off x="2254764" y="4776297"/>
            <a:ext cx="4289652" cy="646331"/>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defTabSz="1625519"/>
            <a:r>
              <a:rPr lang="en-AU" sz="1400" b="1" dirty="0"/>
              <a:t>Bullying of Students – Prevention and Response Policy </a:t>
            </a:r>
            <a:r>
              <a:rPr lang="en-AU" sz="1400" dirty="0" smtClean="0">
                <a:solidFill>
                  <a:prstClr val="black"/>
                </a:solidFill>
              </a:rPr>
              <a:t>Updated policy to reduce time to comply from ~20 hours to 2 hours</a:t>
            </a:r>
          </a:p>
        </p:txBody>
      </p:sp>
      <p:cxnSp>
        <p:nvCxnSpPr>
          <p:cNvPr id="6" name="Straight Connector 5"/>
          <p:cNvCxnSpPr>
            <a:cxnSpLocks/>
          </p:cNvCxnSpPr>
          <p:nvPr/>
        </p:nvCxnSpPr>
        <p:spPr>
          <a:xfrm>
            <a:off x="6675804" y="1724236"/>
            <a:ext cx="301566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TextBox 31"/>
          <p:cNvSpPr txBox="1">
            <a:spLocks/>
          </p:cNvSpPr>
          <p:nvPr/>
        </p:nvSpPr>
        <p:spPr>
          <a:xfrm>
            <a:off x="6675804" y="1793437"/>
            <a:ext cx="3015669" cy="861774"/>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defTabSz="1625519"/>
            <a:r>
              <a:rPr lang="en-AU" sz="1400" dirty="0"/>
              <a:t>~</a:t>
            </a:r>
            <a:r>
              <a:rPr lang="en-AU" sz="1400" dirty="0" smtClean="0"/>
              <a:t> </a:t>
            </a:r>
            <a:r>
              <a:rPr lang="en-AU" sz="1400" b="1" dirty="0" smtClean="0"/>
              <a:t>2-5 </a:t>
            </a:r>
            <a:r>
              <a:rPr lang="en-AU" sz="1400" b="1" dirty="0"/>
              <a:t>hours per </a:t>
            </a:r>
            <a:r>
              <a:rPr lang="en-AU" sz="1400" b="1" dirty="0" smtClean="0"/>
              <a:t>principal </a:t>
            </a:r>
            <a:r>
              <a:rPr lang="en-AU" sz="1400" dirty="0"/>
              <a:t>per year </a:t>
            </a:r>
            <a:r>
              <a:rPr lang="en-AU" sz="1400" dirty="0" smtClean="0"/>
              <a:t>to complete profile</a:t>
            </a:r>
          </a:p>
          <a:p>
            <a:pPr defTabSz="1625519"/>
            <a:endParaRPr lang="en-AU" sz="1400" dirty="0" smtClean="0"/>
          </a:p>
          <a:p>
            <a:pPr defTabSz="1625519"/>
            <a:r>
              <a:rPr lang="en-AU" sz="1400" dirty="0" smtClean="0"/>
              <a:t>MO has agreed to change in process </a:t>
            </a:r>
            <a:endParaRPr lang="en-AU" sz="1400" dirty="0"/>
          </a:p>
        </p:txBody>
      </p:sp>
      <p:sp>
        <p:nvSpPr>
          <p:cNvPr id="39" name="TextBox 38"/>
          <p:cNvSpPr txBox="1">
            <a:spLocks/>
          </p:cNvSpPr>
          <p:nvPr/>
        </p:nvSpPr>
        <p:spPr>
          <a:xfrm>
            <a:off x="6675804" y="2992372"/>
            <a:ext cx="3015669" cy="1723549"/>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defTabSz="1625519"/>
            <a:r>
              <a:rPr lang="en-AU" sz="1400" dirty="0" smtClean="0"/>
              <a:t>Saving </a:t>
            </a:r>
            <a:r>
              <a:rPr lang="en-AU" sz="1400" b="1" dirty="0" smtClean="0"/>
              <a:t>40 – 45 minutes per teacher; removal of 3 day wait period </a:t>
            </a:r>
          </a:p>
          <a:p>
            <a:pPr defTabSz="1625519"/>
            <a:endParaRPr lang="en-AU" sz="1400" b="1" dirty="0" smtClean="0"/>
          </a:p>
          <a:p>
            <a:pPr defTabSz="1625519"/>
            <a:r>
              <a:rPr lang="en-AU" sz="1400" b="1" dirty="0" err="1" smtClean="0"/>
              <a:t>Approx</a:t>
            </a:r>
            <a:r>
              <a:rPr lang="en-AU" sz="1400" b="1" dirty="0" smtClean="0"/>
              <a:t> 10.5 hours saved per school </a:t>
            </a:r>
            <a:r>
              <a:rPr lang="en-AU" sz="1400" dirty="0" smtClean="0"/>
              <a:t>(based on 30,000 teachers) -  </a:t>
            </a:r>
          </a:p>
          <a:p>
            <a:pPr defTabSz="1625519"/>
            <a:r>
              <a:rPr lang="en-AU" sz="1400" b="1" dirty="0" err="1"/>
              <a:t>A</a:t>
            </a:r>
            <a:r>
              <a:rPr lang="en-AU" sz="1400" b="1" dirty="0" err="1" smtClean="0"/>
              <a:t>pprox</a:t>
            </a:r>
            <a:r>
              <a:rPr lang="en-AU" sz="1400" b="1" dirty="0" smtClean="0"/>
              <a:t> 17 hours saved per school </a:t>
            </a:r>
            <a:r>
              <a:rPr lang="en-AU" sz="1400" dirty="0" smtClean="0"/>
              <a:t>(based on 50,000 teachers)</a:t>
            </a:r>
            <a:endParaRPr lang="en-AU" sz="1400" b="1" dirty="0" smtClean="0"/>
          </a:p>
          <a:p>
            <a:pPr defTabSz="1625519"/>
            <a:endParaRPr lang="en-AU" sz="1400" dirty="0"/>
          </a:p>
        </p:txBody>
      </p:sp>
      <p:sp>
        <p:nvSpPr>
          <p:cNvPr id="71" name="TextBox 70"/>
          <p:cNvSpPr txBox="1">
            <a:spLocks/>
          </p:cNvSpPr>
          <p:nvPr/>
        </p:nvSpPr>
        <p:spPr>
          <a:xfrm>
            <a:off x="6675804" y="1432856"/>
            <a:ext cx="3015669" cy="21544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rtlCol="0">
            <a:spAutoFit/>
          </a:bodyPr>
          <a:lstStyle/>
          <a:p>
            <a:pPr defTabSz="1625519"/>
            <a:r>
              <a:rPr lang="en-AU" sz="1400" b="1" dirty="0" smtClean="0">
                <a:solidFill>
                  <a:prstClr val="black"/>
                </a:solidFill>
                <a:latin typeface="Montserrat"/>
              </a:rPr>
              <a:t>Impact</a:t>
            </a:r>
            <a:endParaRPr lang="en-AU" sz="1400" b="1" dirty="0">
              <a:solidFill>
                <a:prstClr val="black"/>
              </a:solidFill>
              <a:latin typeface="Montserrat"/>
            </a:endParaRPr>
          </a:p>
        </p:txBody>
      </p:sp>
      <p:sp>
        <p:nvSpPr>
          <p:cNvPr id="28" name="TextBox 27"/>
          <p:cNvSpPr txBox="1">
            <a:spLocks/>
          </p:cNvSpPr>
          <p:nvPr/>
        </p:nvSpPr>
        <p:spPr>
          <a:xfrm>
            <a:off x="6675803" y="4776297"/>
            <a:ext cx="3015669" cy="861774"/>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defTabSz="1625519"/>
            <a:r>
              <a:rPr lang="en-AU" sz="1400" dirty="0" smtClean="0"/>
              <a:t>Simplified and streamlined tools and materials, overhauling policy</a:t>
            </a:r>
          </a:p>
          <a:p>
            <a:pPr defTabSz="1625519"/>
            <a:r>
              <a:rPr lang="en-AU" sz="1400" b="1" dirty="0" smtClean="0"/>
              <a:t>18 hours per school saved</a:t>
            </a:r>
          </a:p>
          <a:p>
            <a:pPr defTabSz="1625519"/>
            <a:endParaRPr lang="en-AU" sz="1400" dirty="0"/>
          </a:p>
        </p:txBody>
      </p:sp>
      <p:grpSp>
        <p:nvGrpSpPr>
          <p:cNvPr id="10" name="Group 9"/>
          <p:cNvGrpSpPr/>
          <p:nvPr/>
        </p:nvGrpSpPr>
        <p:grpSpPr>
          <a:xfrm>
            <a:off x="428643" y="5535621"/>
            <a:ext cx="12432885" cy="1292662"/>
            <a:chOff x="428643" y="5886114"/>
            <a:chExt cx="12432885" cy="975321"/>
          </a:xfrm>
        </p:grpSpPr>
        <p:sp>
          <p:nvSpPr>
            <p:cNvPr id="31" name="Rectangle 30"/>
            <p:cNvSpPr>
              <a:spLocks/>
            </p:cNvSpPr>
            <p:nvPr/>
          </p:nvSpPr>
          <p:spPr>
            <a:xfrm>
              <a:off x="428643" y="5886114"/>
              <a:ext cx="1694734" cy="8617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AU" sz="1400" b="1" dirty="0" smtClean="0">
                  <a:solidFill>
                    <a:schemeClr val="bg1"/>
                  </a:solidFill>
                </a:rPr>
                <a:t>Min ~ 15,000 hours saved</a:t>
              </a:r>
              <a:endParaRPr lang="en-AU" sz="1400" b="1" dirty="0">
                <a:solidFill>
                  <a:schemeClr val="bg1"/>
                </a:solidFill>
              </a:endParaRPr>
            </a:p>
          </p:txBody>
        </p:sp>
        <p:sp>
          <p:nvSpPr>
            <p:cNvPr id="33" name="TextBox 32"/>
            <p:cNvSpPr txBox="1">
              <a:spLocks/>
            </p:cNvSpPr>
            <p:nvPr/>
          </p:nvSpPr>
          <p:spPr>
            <a:xfrm>
              <a:off x="2254764" y="5886114"/>
              <a:ext cx="4289652" cy="812767"/>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defTabSz="1625519"/>
              <a:r>
                <a:rPr lang="en-AU" sz="1400" b="1" dirty="0" smtClean="0"/>
                <a:t>Sports and Physical Activity </a:t>
              </a:r>
              <a:r>
                <a:rPr lang="en-AU" sz="1400" b="1" dirty="0"/>
                <a:t>P</a:t>
              </a:r>
              <a:r>
                <a:rPr lang="en-AU" sz="1400" b="1" dirty="0" smtClean="0"/>
                <a:t>olicy </a:t>
              </a:r>
            </a:p>
            <a:p>
              <a:pPr marL="285750" indent="-285750" defTabSz="1625519">
                <a:buFont typeface="Arial" panose="020B0604020202020204" pitchFamily="34" charset="0"/>
                <a:buChar char="•"/>
              </a:pPr>
              <a:r>
                <a:rPr lang="en-AU" sz="1400" dirty="0">
                  <a:solidFill>
                    <a:prstClr val="black"/>
                  </a:solidFill>
                </a:rPr>
                <a:t>Updated policy to reduce time to </a:t>
              </a:r>
              <a:r>
                <a:rPr lang="en-AU" sz="1400" dirty="0" smtClean="0">
                  <a:solidFill>
                    <a:prstClr val="black"/>
                  </a:solidFill>
                </a:rPr>
                <a:t>comply. Reduced </a:t>
              </a:r>
              <a:r>
                <a:rPr lang="en-AU" sz="1400" dirty="0">
                  <a:solidFill>
                    <a:prstClr val="black"/>
                  </a:solidFill>
                </a:rPr>
                <a:t>number of clicks </a:t>
              </a:r>
              <a:r>
                <a:rPr lang="en-AU" sz="1400" dirty="0" smtClean="0">
                  <a:solidFill>
                    <a:prstClr val="black"/>
                  </a:solidFill>
                </a:rPr>
                <a:t>from </a:t>
              </a:r>
              <a:r>
                <a:rPr lang="en-AU" sz="1400" dirty="0">
                  <a:solidFill>
                    <a:prstClr val="black"/>
                  </a:solidFill>
                </a:rPr>
                <a:t>44 to </a:t>
              </a:r>
              <a:r>
                <a:rPr lang="en-AU" sz="1400" dirty="0" smtClean="0">
                  <a:solidFill>
                    <a:prstClr val="black"/>
                  </a:solidFill>
                </a:rPr>
                <a:t>2, consolidated location of policies, simplified website, provided plug and play examples to comply. </a:t>
              </a:r>
              <a:endParaRPr lang="en-AU" sz="1400" dirty="0">
                <a:solidFill>
                  <a:prstClr val="black"/>
                </a:solidFill>
              </a:endParaRPr>
            </a:p>
          </p:txBody>
        </p:sp>
        <p:sp>
          <p:nvSpPr>
            <p:cNvPr id="34" name="TextBox 33"/>
            <p:cNvSpPr txBox="1">
              <a:spLocks/>
            </p:cNvSpPr>
            <p:nvPr/>
          </p:nvSpPr>
          <p:spPr>
            <a:xfrm>
              <a:off x="6675803" y="5886114"/>
              <a:ext cx="3015669" cy="975321"/>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defTabSz="1625519"/>
              <a:r>
                <a:rPr lang="en-AU" sz="1400" dirty="0" smtClean="0"/>
                <a:t>Simplified and streamlined tools and materials, overhauling policy</a:t>
              </a:r>
            </a:p>
            <a:p>
              <a:pPr defTabSz="1625519"/>
              <a:r>
                <a:rPr lang="en-AU" sz="1400" b="1" dirty="0" smtClean="0"/>
                <a:t>7 hours per school saved </a:t>
              </a:r>
              <a:r>
                <a:rPr lang="en-AU" sz="1400" dirty="0" smtClean="0"/>
                <a:t>(3 hours saved in initial implementation and  1 hour per term saved)</a:t>
              </a:r>
              <a:endParaRPr lang="en-AU" sz="1400" b="1" dirty="0" smtClean="0"/>
            </a:p>
            <a:p>
              <a:pPr defTabSz="1625519"/>
              <a:endParaRPr lang="en-AU" sz="1400" dirty="0"/>
            </a:p>
          </p:txBody>
        </p:sp>
        <p:sp>
          <p:nvSpPr>
            <p:cNvPr id="36" name="TextBox 35"/>
            <p:cNvSpPr txBox="1">
              <a:spLocks/>
            </p:cNvSpPr>
            <p:nvPr/>
          </p:nvSpPr>
          <p:spPr>
            <a:xfrm>
              <a:off x="9807227" y="5886114"/>
              <a:ext cx="3054301" cy="162554"/>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defTabSz="1625519"/>
              <a:r>
                <a:rPr lang="en-AU" sz="1400" dirty="0" smtClean="0"/>
                <a:t>Georgina Harrison</a:t>
              </a:r>
              <a:endParaRPr lang="en-AU" sz="1400" dirty="0"/>
            </a:p>
          </p:txBody>
        </p:sp>
      </p:grpSp>
      <p:cxnSp>
        <p:nvCxnSpPr>
          <p:cNvPr id="38" name="Straight Connector 37"/>
          <p:cNvCxnSpPr>
            <a:cxnSpLocks/>
          </p:cNvCxnSpPr>
          <p:nvPr/>
        </p:nvCxnSpPr>
        <p:spPr>
          <a:xfrm>
            <a:off x="428644" y="4744321"/>
            <a:ext cx="11035058" cy="0"/>
          </a:xfrm>
          <a:prstGeom prst="line">
            <a:avLst/>
          </a:prstGeom>
          <a:ln>
            <a:prstDash val="solid"/>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a:cxnSpLocks/>
          </p:cNvCxnSpPr>
          <p:nvPr/>
        </p:nvCxnSpPr>
        <p:spPr>
          <a:xfrm>
            <a:off x="428644" y="5479123"/>
            <a:ext cx="11035058" cy="0"/>
          </a:xfrm>
          <a:prstGeom prst="line">
            <a:avLst/>
          </a:prstGeom>
          <a:ln>
            <a:prstDash val="solid"/>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10893299" y="79513"/>
            <a:ext cx="1071245" cy="338554"/>
          </a:xfrm>
          <a:prstGeom prst="rect">
            <a:avLst/>
          </a:prstGeom>
          <a:noFill/>
        </p:spPr>
        <p:txBody>
          <a:bodyPr wrap="square" rtlCol="0">
            <a:spAutoFit/>
          </a:bodyPr>
          <a:lstStyle/>
          <a:p>
            <a:r>
              <a:rPr lang="en-AU" sz="1600" dirty="0" smtClean="0"/>
              <a:t>TAB A</a:t>
            </a:r>
            <a:endParaRPr lang="en-AU" sz="1600" dirty="0"/>
          </a:p>
        </p:txBody>
      </p:sp>
    </p:spTree>
    <p:extLst>
      <p:ext uri="{BB962C8B-B14F-4D97-AF65-F5344CB8AC3E}">
        <p14:creationId xmlns:p14="http://schemas.microsoft.com/office/powerpoint/2010/main" val="247768733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4" name="think-cell Slide" r:id="rId6" imgW="501" imgH="502" progId="TCLayout.ActiveDocument.1">
                  <p:embed/>
                </p:oleObj>
              </mc:Choice>
              <mc:Fallback>
                <p:oleObj name="think-cell Slide" r:id="rId6" imgW="501" imgH="502"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AU" sz="4000"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a:xfrm>
            <a:off x="527381" y="654250"/>
            <a:ext cx="11041227" cy="662517"/>
          </a:xfrm>
        </p:spPr>
        <p:txBody>
          <a:bodyPr>
            <a:normAutofit/>
          </a:bodyPr>
          <a:lstStyle/>
          <a:p>
            <a:r>
              <a:rPr lang="en-AU" dirty="0" smtClean="0"/>
              <a:t>Work in </a:t>
            </a:r>
            <a:r>
              <a:rPr lang="en-AU" dirty="0"/>
              <a:t>p</a:t>
            </a:r>
            <a:r>
              <a:rPr lang="en-AU" dirty="0" smtClean="0"/>
              <a:t>rogress</a:t>
            </a:r>
            <a:endParaRPr lang="en-AU" dirty="0"/>
          </a:p>
        </p:txBody>
      </p:sp>
      <p:grpSp>
        <p:nvGrpSpPr>
          <p:cNvPr id="87" name="Group 86"/>
          <p:cNvGrpSpPr/>
          <p:nvPr/>
        </p:nvGrpSpPr>
        <p:grpSpPr>
          <a:xfrm>
            <a:off x="508702" y="1853538"/>
            <a:ext cx="1184182" cy="810613"/>
            <a:chOff x="395536" y="1399514"/>
            <a:chExt cx="1080120" cy="821488"/>
          </a:xfrm>
        </p:grpSpPr>
        <p:sp>
          <p:nvSpPr>
            <p:cNvPr id="18" name="Rectangle 17"/>
            <p:cNvSpPr>
              <a:spLocks/>
            </p:cNvSpPr>
            <p:nvPr/>
          </p:nvSpPr>
          <p:spPr>
            <a:xfrm>
              <a:off x="395536" y="1399514"/>
              <a:ext cx="1080120" cy="8214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1400" dirty="0">
                <a:solidFill>
                  <a:srgbClr val="000000"/>
                </a:solidFill>
                <a:latin typeface="Arial" panose="020B0604020202020204" pitchFamily="34" charset="0"/>
              </a:endParaRPr>
            </a:p>
          </p:txBody>
        </p:sp>
        <p:sp>
          <p:nvSpPr>
            <p:cNvPr id="15" name="TextBox 14"/>
            <p:cNvSpPr txBox="1">
              <a:spLocks/>
            </p:cNvSpPr>
            <p:nvPr/>
          </p:nvSpPr>
          <p:spPr>
            <a:xfrm>
              <a:off x="395536" y="1624559"/>
              <a:ext cx="1080120" cy="311906"/>
            </a:xfrm>
            <a:prstGeom prst="rect">
              <a:avLst/>
            </a:prstGeom>
            <a:noFill/>
          </p:spPr>
          <p:txBody>
            <a:bodyPr wrap="square" rtlCol="0" anchor="ctr">
              <a:spAutoFit/>
            </a:bodyPr>
            <a:lstStyle/>
            <a:p>
              <a:pPr algn="ctr"/>
              <a:r>
                <a:rPr lang="en-AU" sz="1400" b="1" dirty="0" smtClean="0">
                  <a:solidFill>
                    <a:schemeClr val="bg1"/>
                  </a:solidFill>
                </a:rPr>
                <a:t>Imminent</a:t>
              </a:r>
              <a:endParaRPr lang="en-AU" sz="1400" b="1" dirty="0">
                <a:solidFill>
                  <a:schemeClr val="bg1"/>
                </a:solidFill>
              </a:endParaRPr>
            </a:p>
          </p:txBody>
        </p:sp>
      </p:grpSp>
      <p:grpSp>
        <p:nvGrpSpPr>
          <p:cNvPr id="21" name="Group 20"/>
          <p:cNvGrpSpPr/>
          <p:nvPr/>
        </p:nvGrpSpPr>
        <p:grpSpPr>
          <a:xfrm>
            <a:off x="508702" y="5179103"/>
            <a:ext cx="1184182" cy="1534352"/>
            <a:chOff x="532999" y="3762557"/>
            <a:chExt cx="1270000" cy="762000"/>
          </a:xfrm>
        </p:grpSpPr>
        <p:sp>
          <p:nvSpPr>
            <p:cNvPr id="20" name="Rectangle 19"/>
            <p:cNvSpPr/>
            <p:nvPr/>
          </p:nvSpPr>
          <p:spPr>
            <a:xfrm>
              <a:off x="532999" y="3762557"/>
              <a:ext cx="1270000" cy="76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1400" dirty="0">
                <a:solidFill>
                  <a:srgbClr val="000000"/>
                </a:solidFill>
                <a:latin typeface="Arial" panose="020B0604020202020204" pitchFamily="34" charset="0"/>
              </a:endParaRPr>
            </a:p>
          </p:txBody>
        </p:sp>
        <p:sp>
          <p:nvSpPr>
            <p:cNvPr id="17" name="TextBox 16"/>
            <p:cNvSpPr txBox="1">
              <a:spLocks/>
            </p:cNvSpPr>
            <p:nvPr/>
          </p:nvSpPr>
          <p:spPr>
            <a:xfrm>
              <a:off x="532999" y="4038490"/>
              <a:ext cx="1270000" cy="210136"/>
            </a:xfrm>
            <a:prstGeom prst="rect">
              <a:avLst/>
            </a:prstGeom>
            <a:noFill/>
          </p:spPr>
          <p:txBody>
            <a:bodyPr wrap="square" rtlCol="0" anchor="ctr">
              <a:spAutoFit/>
            </a:bodyPr>
            <a:lstStyle/>
            <a:p>
              <a:pPr algn="ctr"/>
              <a:r>
                <a:rPr lang="en-AU" sz="1400" b="1" dirty="0" smtClean="0">
                  <a:solidFill>
                    <a:schemeClr val="bg1"/>
                  </a:solidFill>
                </a:rPr>
                <a:t>Prevention</a:t>
              </a:r>
              <a:endParaRPr lang="en-AU" sz="1400" b="1" dirty="0">
                <a:solidFill>
                  <a:schemeClr val="bg1"/>
                </a:solidFill>
              </a:endParaRPr>
            </a:p>
          </p:txBody>
        </p:sp>
      </p:grpSp>
      <p:cxnSp>
        <p:nvCxnSpPr>
          <p:cNvPr id="56" name="Straight Connector 55"/>
          <p:cNvCxnSpPr>
            <a:cxnSpLocks/>
          </p:cNvCxnSpPr>
          <p:nvPr/>
        </p:nvCxnSpPr>
        <p:spPr>
          <a:xfrm>
            <a:off x="508702" y="2732019"/>
            <a:ext cx="11041227" cy="0"/>
          </a:xfrm>
          <a:prstGeom prst="line">
            <a:avLst/>
          </a:prstGeom>
          <a:ln>
            <a:prstDash val="solid"/>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a:cxnSpLocks/>
          </p:cNvCxnSpPr>
          <p:nvPr/>
        </p:nvCxnSpPr>
        <p:spPr>
          <a:xfrm>
            <a:off x="1924264" y="4430905"/>
            <a:ext cx="973020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a:cxnSpLocks/>
          </p:cNvCxnSpPr>
          <p:nvPr/>
        </p:nvCxnSpPr>
        <p:spPr>
          <a:xfrm>
            <a:off x="1838405" y="5946662"/>
            <a:ext cx="973020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9" name="Rectangle 18"/>
          <p:cNvSpPr>
            <a:spLocks/>
          </p:cNvSpPr>
          <p:nvPr/>
        </p:nvSpPr>
        <p:spPr>
          <a:xfrm>
            <a:off x="508702" y="2812622"/>
            <a:ext cx="1184182" cy="21929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1400" dirty="0">
              <a:solidFill>
                <a:srgbClr val="000000"/>
              </a:solidFill>
              <a:latin typeface="Arial" panose="020B0604020202020204" pitchFamily="34" charset="0"/>
            </a:endParaRPr>
          </a:p>
        </p:txBody>
      </p:sp>
      <p:sp>
        <p:nvSpPr>
          <p:cNvPr id="16" name="TextBox 15"/>
          <p:cNvSpPr txBox="1">
            <a:spLocks/>
          </p:cNvSpPr>
          <p:nvPr/>
        </p:nvSpPr>
        <p:spPr>
          <a:xfrm>
            <a:off x="370117" y="3434170"/>
            <a:ext cx="1440160" cy="738664"/>
          </a:xfrm>
          <a:prstGeom prst="rect">
            <a:avLst/>
          </a:prstGeom>
          <a:noFill/>
        </p:spPr>
        <p:txBody>
          <a:bodyPr wrap="square" rtlCol="0" anchor="ctr">
            <a:spAutoFit/>
          </a:bodyPr>
          <a:lstStyle/>
          <a:p>
            <a:pPr algn="ctr"/>
            <a:r>
              <a:rPr lang="en-AU" sz="1400" b="1" dirty="0" smtClean="0">
                <a:solidFill>
                  <a:schemeClr val="bg1"/>
                </a:solidFill>
              </a:rPr>
              <a:t>‘Take off the desk’ – key </a:t>
            </a:r>
          </a:p>
          <a:p>
            <a:pPr algn="ctr"/>
            <a:r>
              <a:rPr lang="en-AU" sz="1400" b="1" dirty="0" smtClean="0">
                <a:solidFill>
                  <a:schemeClr val="bg1"/>
                </a:solidFill>
              </a:rPr>
              <a:t>frustrations</a:t>
            </a:r>
            <a:endParaRPr lang="en-AU" sz="1400" b="1" dirty="0">
              <a:solidFill>
                <a:schemeClr val="bg1"/>
              </a:solidFill>
            </a:endParaRPr>
          </a:p>
        </p:txBody>
      </p:sp>
      <p:sp>
        <p:nvSpPr>
          <p:cNvPr id="25" name="TextBox 24"/>
          <p:cNvSpPr txBox="1">
            <a:spLocks/>
          </p:cNvSpPr>
          <p:nvPr/>
        </p:nvSpPr>
        <p:spPr>
          <a:xfrm>
            <a:off x="1819726" y="1945547"/>
            <a:ext cx="3826519" cy="430887"/>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defTabSz="1625519"/>
            <a:r>
              <a:rPr lang="en-AU" sz="1400" b="1" dirty="0" smtClean="0"/>
              <a:t>School Website Service – </a:t>
            </a:r>
            <a:r>
              <a:rPr lang="en-AU" sz="1400" dirty="0" smtClean="0"/>
              <a:t>new website service being rolled out on Adobe experience platform</a:t>
            </a:r>
            <a:endParaRPr lang="en-AU" sz="1400" b="1" dirty="0"/>
          </a:p>
        </p:txBody>
      </p:sp>
      <p:sp>
        <p:nvSpPr>
          <p:cNvPr id="3" name="TextBox 2"/>
          <p:cNvSpPr txBox="1">
            <a:spLocks/>
          </p:cNvSpPr>
          <p:nvPr/>
        </p:nvSpPr>
        <p:spPr>
          <a:xfrm>
            <a:off x="1819726" y="1496226"/>
            <a:ext cx="9730203" cy="21544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rtlCol="0">
            <a:spAutoFit/>
          </a:bodyPr>
          <a:lstStyle/>
          <a:p>
            <a:pPr defTabSz="1625519"/>
            <a:r>
              <a:rPr lang="en-AU" sz="1400" b="1" dirty="0" smtClean="0">
                <a:solidFill>
                  <a:prstClr val="black"/>
                </a:solidFill>
                <a:latin typeface="Montserrat"/>
              </a:rPr>
              <a:t>Areas of focus</a:t>
            </a:r>
            <a:endParaRPr lang="en-AU" sz="1400" b="1" dirty="0">
              <a:solidFill>
                <a:prstClr val="black"/>
              </a:solidFill>
              <a:latin typeface="Montserrat"/>
            </a:endParaRPr>
          </a:p>
        </p:txBody>
      </p:sp>
      <p:sp>
        <p:nvSpPr>
          <p:cNvPr id="67" name="TextBox 66"/>
          <p:cNvSpPr txBox="1">
            <a:spLocks/>
          </p:cNvSpPr>
          <p:nvPr/>
        </p:nvSpPr>
        <p:spPr>
          <a:xfrm>
            <a:off x="1883963" y="4544347"/>
            <a:ext cx="3826519" cy="430887"/>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defTabSz="1625519"/>
            <a:r>
              <a:rPr lang="en-AU" sz="1400" b="1" dirty="0" smtClean="0"/>
              <a:t>A-Z – </a:t>
            </a:r>
            <a:r>
              <a:rPr lang="en-AU" sz="1400" dirty="0" smtClean="0"/>
              <a:t>compliance driven activity that increases school workload. Value to schools is unclear</a:t>
            </a:r>
            <a:endParaRPr lang="en-AU" sz="1400" b="1" dirty="0"/>
          </a:p>
        </p:txBody>
      </p:sp>
      <p:sp>
        <p:nvSpPr>
          <p:cNvPr id="77" name="TextBox 76"/>
          <p:cNvSpPr txBox="1">
            <a:spLocks/>
          </p:cNvSpPr>
          <p:nvPr/>
        </p:nvSpPr>
        <p:spPr>
          <a:xfrm>
            <a:off x="1837039" y="5149051"/>
            <a:ext cx="3826519" cy="646331"/>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defTabSz="1625519"/>
            <a:r>
              <a:rPr lang="en-AU" sz="1400" b="1" dirty="0" smtClean="0"/>
              <a:t>Schools Coordinated Schedule of Support – </a:t>
            </a:r>
            <a:r>
              <a:rPr lang="en-AU" sz="1400" dirty="0" smtClean="0"/>
              <a:t>ongoing iteration and improvement, critical is prioritisation </a:t>
            </a:r>
            <a:r>
              <a:rPr lang="en-AU" sz="1400" smtClean="0"/>
              <a:t>of activities</a:t>
            </a:r>
            <a:endParaRPr lang="en-AU" sz="1400" dirty="0"/>
          </a:p>
        </p:txBody>
      </p:sp>
      <p:sp>
        <p:nvSpPr>
          <p:cNvPr id="82" name="TextBox 81"/>
          <p:cNvSpPr txBox="1">
            <a:spLocks/>
          </p:cNvSpPr>
          <p:nvPr/>
        </p:nvSpPr>
        <p:spPr>
          <a:xfrm>
            <a:off x="1819726" y="5945461"/>
            <a:ext cx="3826519" cy="646331"/>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defTabSz="1625519"/>
            <a:r>
              <a:rPr lang="en-AU" sz="1400" b="1" dirty="0" smtClean="0"/>
              <a:t>Governance Workshop </a:t>
            </a:r>
            <a:r>
              <a:rPr lang="en-AU" sz="1400" dirty="0" smtClean="0"/>
              <a:t>– 18</a:t>
            </a:r>
            <a:r>
              <a:rPr lang="en-AU" sz="1400" baseline="30000" dirty="0" smtClean="0"/>
              <a:t>th</a:t>
            </a:r>
            <a:r>
              <a:rPr lang="en-AU" sz="1400" dirty="0" smtClean="0"/>
              <a:t> </a:t>
            </a:r>
            <a:r>
              <a:rPr lang="en-AU" sz="1400" dirty="0"/>
              <a:t>May </a:t>
            </a:r>
            <a:endParaRPr lang="en-AU" sz="1400" dirty="0" smtClean="0"/>
          </a:p>
          <a:p>
            <a:pPr defTabSz="1625519"/>
            <a:r>
              <a:rPr lang="en-AU" sz="1400" dirty="0" smtClean="0"/>
              <a:t>Conducting </a:t>
            </a:r>
            <a:r>
              <a:rPr lang="en-AU" sz="1400" dirty="0"/>
              <a:t>workshop (approx. 40 attendees across DoE) </a:t>
            </a:r>
          </a:p>
        </p:txBody>
      </p:sp>
      <p:sp>
        <p:nvSpPr>
          <p:cNvPr id="72" name="TextBox 71"/>
          <p:cNvSpPr txBox="1">
            <a:spLocks/>
          </p:cNvSpPr>
          <p:nvPr/>
        </p:nvSpPr>
        <p:spPr>
          <a:xfrm>
            <a:off x="1837039" y="3914294"/>
            <a:ext cx="3809205" cy="430887"/>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defTabSz="1625519"/>
            <a:r>
              <a:rPr lang="en-AU" sz="1400" b="1" dirty="0" err="1" smtClean="0"/>
              <a:t>SPaRO</a:t>
            </a:r>
            <a:r>
              <a:rPr lang="en-AU" sz="1400" b="1" dirty="0" smtClean="0"/>
              <a:t> </a:t>
            </a:r>
            <a:r>
              <a:rPr lang="en-AU" sz="1400" dirty="0" smtClean="0"/>
              <a:t>– frustrations re lack of flexibility and issues with copying &amp; pasting </a:t>
            </a:r>
            <a:endParaRPr lang="en-AU" sz="1400" dirty="0"/>
          </a:p>
        </p:txBody>
      </p:sp>
      <p:sp>
        <p:nvSpPr>
          <p:cNvPr id="35" name="TextBox 34"/>
          <p:cNvSpPr txBox="1">
            <a:spLocks/>
          </p:cNvSpPr>
          <p:nvPr/>
        </p:nvSpPr>
        <p:spPr>
          <a:xfrm>
            <a:off x="1819726" y="2790601"/>
            <a:ext cx="3826519" cy="861774"/>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defTabSz="1625519"/>
            <a:r>
              <a:rPr lang="en-AU" sz="1400" b="1" dirty="0" smtClean="0"/>
              <a:t>Cash Management Process </a:t>
            </a:r>
            <a:r>
              <a:rPr lang="en-AU" sz="1400" dirty="0" smtClean="0"/>
              <a:t>– daily banking process; cancelled receipts &amp; cash refunds (initiated due to principals printing, signing and filing blank reports for 7 years)</a:t>
            </a:r>
            <a:endParaRPr lang="en-AU" sz="1400" dirty="0"/>
          </a:p>
        </p:txBody>
      </p:sp>
      <p:cxnSp>
        <p:nvCxnSpPr>
          <p:cNvPr id="6" name="Straight Connector 5"/>
          <p:cNvCxnSpPr>
            <a:cxnSpLocks/>
          </p:cNvCxnSpPr>
          <p:nvPr/>
        </p:nvCxnSpPr>
        <p:spPr>
          <a:xfrm>
            <a:off x="6953534" y="1784338"/>
            <a:ext cx="459639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TextBox 33"/>
          <p:cNvSpPr txBox="1">
            <a:spLocks/>
          </p:cNvSpPr>
          <p:nvPr/>
        </p:nvSpPr>
        <p:spPr>
          <a:xfrm>
            <a:off x="6953534" y="1945545"/>
            <a:ext cx="4596395" cy="430887"/>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defTabSz="1625519"/>
            <a:r>
              <a:rPr lang="en-AU" sz="1400" dirty="0" smtClean="0"/>
              <a:t>Finalising options for schools that wish to ‘just migrate’ and alternate service options </a:t>
            </a:r>
            <a:endParaRPr lang="en-AU" sz="1400" dirty="0"/>
          </a:p>
        </p:txBody>
      </p:sp>
      <p:sp>
        <p:nvSpPr>
          <p:cNvPr id="76" name="TextBox 75"/>
          <p:cNvSpPr txBox="1">
            <a:spLocks/>
          </p:cNvSpPr>
          <p:nvPr/>
        </p:nvSpPr>
        <p:spPr>
          <a:xfrm>
            <a:off x="7000459" y="4544347"/>
            <a:ext cx="4596395" cy="215444"/>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defTabSz="1625519"/>
            <a:r>
              <a:rPr lang="en-AU" sz="1400" dirty="0" smtClean="0"/>
              <a:t>New policies not required in A-Z, further updates today</a:t>
            </a:r>
            <a:endParaRPr lang="en-AU" sz="1400" dirty="0"/>
          </a:p>
        </p:txBody>
      </p:sp>
      <p:sp>
        <p:nvSpPr>
          <p:cNvPr id="81" name="TextBox 80"/>
          <p:cNvSpPr txBox="1">
            <a:spLocks/>
          </p:cNvSpPr>
          <p:nvPr/>
        </p:nvSpPr>
        <p:spPr>
          <a:xfrm>
            <a:off x="6953534" y="5197591"/>
            <a:ext cx="4596395" cy="430887"/>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defTabSz="1625519"/>
            <a:r>
              <a:rPr lang="en-AU" sz="1400" dirty="0" smtClean="0"/>
              <a:t>Prioritised list, and reduced content substantially; now streamlining delivery solution</a:t>
            </a:r>
            <a:endParaRPr lang="en-AU" sz="1400" dirty="0"/>
          </a:p>
        </p:txBody>
      </p:sp>
      <p:sp>
        <p:nvSpPr>
          <p:cNvPr id="86" name="TextBox 85"/>
          <p:cNvSpPr txBox="1">
            <a:spLocks/>
          </p:cNvSpPr>
          <p:nvPr/>
        </p:nvSpPr>
        <p:spPr>
          <a:xfrm>
            <a:off x="6953534" y="5945461"/>
            <a:ext cx="4596395" cy="646331"/>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defTabSz="1625519"/>
            <a:r>
              <a:rPr lang="en-AU" sz="1400" dirty="0" smtClean="0"/>
              <a:t>Building on feedback from initial workshop and principles to define a governance and prioritisation approach for the department</a:t>
            </a:r>
            <a:endParaRPr lang="en-AU" sz="1400" dirty="0"/>
          </a:p>
        </p:txBody>
      </p:sp>
      <p:sp>
        <p:nvSpPr>
          <p:cNvPr id="66" name="TextBox 65"/>
          <p:cNvSpPr txBox="1">
            <a:spLocks/>
          </p:cNvSpPr>
          <p:nvPr/>
        </p:nvSpPr>
        <p:spPr>
          <a:xfrm>
            <a:off x="6953533" y="3943623"/>
            <a:ext cx="4596395" cy="430887"/>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defTabSz="1625519"/>
            <a:r>
              <a:rPr lang="en-AU" sz="1400" dirty="0" smtClean="0"/>
              <a:t>Substantial improvements to the system complete and more underway. Exploring flexible/tailored approach.</a:t>
            </a:r>
            <a:endParaRPr lang="en-AU" sz="1400" dirty="0"/>
          </a:p>
        </p:txBody>
      </p:sp>
      <p:sp>
        <p:nvSpPr>
          <p:cNvPr id="39" name="TextBox 38"/>
          <p:cNvSpPr txBox="1">
            <a:spLocks/>
          </p:cNvSpPr>
          <p:nvPr/>
        </p:nvSpPr>
        <p:spPr>
          <a:xfrm>
            <a:off x="6953534" y="2790601"/>
            <a:ext cx="4596395" cy="861774"/>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defTabSz="1625519"/>
            <a:r>
              <a:rPr lang="en-AU" sz="1400" dirty="0" smtClean="0"/>
              <a:t>Identified inefficiencies throughout entire cash management process, associated time savings to be quantified as a result. Cross-department process re-design commenced – looking for short &amp; long term solutions </a:t>
            </a:r>
            <a:endParaRPr lang="en-AU" sz="1400" dirty="0"/>
          </a:p>
        </p:txBody>
      </p:sp>
      <p:cxnSp>
        <p:nvCxnSpPr>
          <p:cNvPr id="75" name="Straight Connector 74"/>
          <p:cNvCxnSpPr>
            <a:cxnSpLocks/>
          </p:cNvCxnSpPr>
          <p:nvPr/>
        </p:nvCxnSpPr>
        <p:spPr>
          <a:xfrm>
            <a:off x="1825625" y="3874140"/>
            <a:ext cx="973020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cxnSpLocks/>
          </p:cNvCxnSpPr>
          <p:nvPr/>
        </p:nvCxnSpPr>
        <p:spPr>
          <a:xfrm>
            <a:off x="5710482" y="1784338"/>
            <a:ext cx="118952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a:cxnSpLocks/>
          </p:cNvCxnSpPr>
          <p:nvPr/>
        </p:nvCxnSpPr>
        <p:spPr>
          <a:xfrm>
            <a:off x="1819726" y="1784338"/>
            <a:ext cx="382651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1" name="TextBox 70"/>
          <p:cNvSpPr txBox="1">
            <a:spLocks/>
          </p:cNvSpPr>
          <p:nvPr/>
        </p:nvSpPr>
        <p:spPr>
          <a:xfrm>
            <a:off x="6953534" y="1507045"/>
            <a:ext cx="605935" cy="21544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rtlCol="0">
            <a:spAutoFit/>
          </a:bodyPr>
          <a:lstStyle/>
          <a:p>
            <a:pPr defTabSz="1625519"/>
            <a:r>
              <a:rPr lang="en-AU" sz="1400" b="1" dirty="0" smtClean="0">
                <a:solidFill>
                  <a:prstClr val="black"/>
                </a:solidFill>
                <a:latin typeface="Montserrat"/>
              </a:rPr>
              <a:t>Update</a:t>
            </a:r>
            <a:endParaRPr lang="en-AU" sz="1400" b="1" dirty="0">
              <a:solidFill>
                <a:prstClr val="black"/>
              </a:solidFill>
              <a:latin typeface="Montserrat"/>
            </a:endParaRPr>
          </a:p>
        </p:txBody>
      </p:sp>
      <p:sp>
        <p:nvSpPr>
          <p:cNvPr id="8" name="TextBox 7"/>
          <p:cNvSpPr txBox="1"/>
          <p:nvPr/>
        </p:nvSpPr>
        <p:spPr>
          <a:xfrm>
            <a:off x="5757407" y="1328799"/>
            <a:ext cx="1125432" cy="430887"/>
          </a:xfrm>
          <a:prstGeom prst="rect">
            <a:avLst/>
          </a:prstGeom>
          <a:solidFill>
            <a:schemeClr val="bg1"/>
          </a:solidFill>
          <a:extLst/>
        </p:spPr>
        <p:txBody>
          <a:bodyPr vert="horz" wrap="square" lIns="0" tIns="0" rIns="0" bIns="0" rtlCol="0">
            <a:spAutoFit/>
          </a:bodyPr>
          <a:lstStyle/>
          <a:p>
            <a:pPr algn="ctr" defTabSz="1625519"/>
            <a:r>
              <a:rPr lang="en-AU" sz="1400" b="1" dirty="0" smtClean="0">
                <a:solidFill>
                  <a:prstClr val="black"/>
                </a:solidFill>
                <a:latin typeface="Montserrat"/>
              </a:rPr>
              <a:t>Potential time saving </a:t>
            </a:r>
            <a:endParaRPr lang="en-AU" sz="1400" b="1" dirty="0">
              <a:solidFill>
                <a:prstClr val="black"/>
              </a:solidFill>
              <a:latin typeface="Montserrat"/>
            </a:endParaRPr>
          </a:p>
        </p:txBody>
      </p:sp>
      <p:sp>
        <p:nvSpPr>
          <p:cNvPr id="89" name="TextBox 88"/>
          <p:cNvSpPr txBox="1">
            <a:spLocks/>
          </p:cNvSpPr>
          <p:nvPr/>
        </p:nvSpPr>
        <p:spPr>
          <a:xfrm>
            <a:off x="5663556" y="1870063"/>
            <a:ext cx="1336904" cy="738664"/>
          </a:xfrm>
          <a:prstGeom prst="rect">
            <a:avLst/>
          </a:prstGeom>
          <a:noFill/>
        </p:spPr>
        <p:txBody>
          <a:bodyPr wrap="square" rtlCol="0">
            <a:spAutoFit/>
          </a:bodyPr>
          <a:lstStyle/>
          <a:p>
            <a:pPr algn="ctr"/>
            <a:r>
              <a:rPr lang="en-AU" sz="1400" dirty="0" smtClean="0"/>
              <a:t>Up to 18 hrs for 50%+ of schools</a:t>
            </a:r>
            <a:endParaRPr lang="en-AU" sz="1400" dirty="0"/>
          </a:p>
        </p:txBody>
      </p:sp>
      <p:sp>
        <p:nvSpPr>
          <p:cNvPr id="90" name="TextBox 89"/>
          <p:cNvSpPr txBox="1">
            <a:spLocks/>
          </p:cNvSpPr>
          <p:nvPr/>
        </p:nvSpPr>
        <p:spPr>
          <a:xfrm>
            <a:off x="5710482" y="2740046"/>
            <a:ext cx="1189529" cy="954107"/>
          </a:xfrm>
          <a:prstGeom prst="rect">
            <a:avLst/>
          </a:prstGeom>
          <a:noFill/>
        </p:spPr>
        <p:txBody>
          <a:bodyPr wrap="square" rtlCol="0">
            <a:spAutoFit/>
          </a:bodyPr>
          <a:lstStyle/>
          <a:p>
            <a:pPr algn="ctr"/>
            <a:r>
              <a:rPr lang="en-AU" sz="1400" dirty="0" smtClean="0"/>
              <a:t>Minimum </a:t>
            </a:r>
          </a:p>
          <a:p>
            <a:pPr algn="ctr"/>
            <a:r>
              <a:rPr lang="en-AU" sz="1400" dirty="0" smtClean="0"/>
              <a:t>3 </a:t>
            </a:r>
            <a:r>
              <a:rPr lang="en-AU" sz="1400" dirty="0" err="1" smtClean="0"/>
              <a:t>mins</a:t>
            </a:r>
            <a:r>
              <a:rPr lang="en-AU" sz="1400" dirty="0" smtClean="0"/>
              <a:t>/day = 10 hrs/</a:t>
            </a:r>
            <a:r>
              <a:rPr lang="en-AU" sz="1400" dirty="0" err="1" smtClean="0"/>
              <a:t>yr</a:t>
            </a:r>
            <a:r>
              <a:rPr lang="en-AU" sz="1400" dirty="0" smtClean="0"/>
              <a:t> per principal</a:t>
            </a:r>
            <a:endParaRPr lang="en-AU" sz="1400" dirty="0"/>
          </a:p>
        </p:txBody>
      </p:sp>
      <p:sp>
        <p:nvSpPr>
          <p:cNvPr id="98" name="TextBox 97"/>
          <p:cNvSpPr txBox="1">
            <a:spLocks/>
          </p:cNvSpPr>
          <p:nvPr/>
        </p:nvSpPr>
        <p:spPr>
          <a:xfrm>
            <a:off x="5650523" y="4556369"/>
            <a:ext cx="1296414" cy="523220"/>
          </a:xfrm>
          <a:prstGeom prst="rect">
            <a:avLst/>
          </a:prstGeom>
          <a:noFill/>
        </p:spPr>
        <p:txBody>
          <a:bodyPr wrap="square" rtlCol="0">
            <a:spAutoFit/>
          </a:bodyPr>
          <a:lstStyle/>
          <a:p>
            <a:pPr algn="ctr"/>
            <a:r>
              <a:rPr lang="en-AU" sz="1400" dirty="0" smtClean="0"/>
              <a:t>Est ~4-6 hrs/</a:t>
            </a:r>
            <a:r>
              <a:rPr lang="en-AU" sz="1400" dirty="0" err="1" smtClean="0"/>
              <a:t>yr</a:t>
            </a:r>
            <a:r>
              <a:rPr lang="en-AU" sz="1400" dirty="0" smtClean="0"/>
              <a:t> per principal</a:t>
            </a:r>
            <a:endParaRPr lang="en-AU" sz="1400" dirty="0"/>
          </a:p>
        </p:txBody>
      </p:sp>
      <p:cxnSp>
        <p:nvCxnSpPr>
          <p:cNvPr id="50" name="Straight Connector 49"/>
          <p:cNvCxnSpPr>
            <a:cxnSpLocks/>
          </p:cNvCxnSpPr>
          <p:nvPr/>
        </p:nvCxnSpPr>
        <p:spPr>
          <a:xfrm>
            <a:off x="508702" y="5092353"/>
            <a:ext cx="11041227" cy="0"/>
          </a:xfrm>
          <a:prstGeom prst="line">
            <a:avLst/>
          </a:prstGeom>
          <a:ln>
            <a:prstDash val="solid"/>
          </a:ln>
        </p:spPr>
        <p:style>
          <a:lnRef idx="1">
            <a:schemeClr val="accent1"/>
          </a:lnRef>
          <a:fillRef idx="0">
            <a:schemeClr val="accent1"/>
          </a:fillRef>
          <a:effectRef idx="0">
            <a:schemeClr val="accent1"/>
          </a:effectRef>
          <a:fontRef idx="minor">
            <a:schemeClr val="tx1"/>
          </a:fontRef>
        </p:style>
      </p:cxnSp>
      <p:sp>
        <p:nvSpPr>
          <p:cNvPr id="53" name="TextBox 52"/>
          <p:cNvSpPr txBox="1">
            <a:spLocks/>
          </p:cNvSpPr>
          <p:nvPr/>
        </p:nvSpPr>
        <p:spPr>
          <a:xfrm>
            <a:off x="1837038" y="3914294"/>
            <a:ext cx="3809205" cy="430887"/>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defTabSz="1625519"/>
            <a:r>
              <a:rPr lang="en-AU" sz="1400" b="1" dirty="0" err="1" smtClean="0"/>
              <a:t>SPaRO</a:t>
            </a:r>
            <a:r>
              <a:rPr lang="en-AU" sz="1400" b="1" dirty="0" smtClean="0"/>
              <a:t> </a:t>
            </a:r>
            <a:r>
              <a:rPr lang="en-AU" sz="1400" dirty="0" smtClean="0"/>
              <a:t>– frustrations re lack of flexibility and issues with copying &amp; pasting into system</a:t>
            </a:r>
            <a:endParaRPr lang="en-AU" sz="1400" dirty="0"/>
          </a:p>
        </p:txBody>
      </p:sp>
      <p:sp>
        <p:nvSpPr>
          <p:cNvPr id="54" name="TextBox 53"/>
          <p:cNvSpPr txBox="1">
            <a:spLocks/>
          </p:cNvSpPr>
          <p:nvPr/>
        </p:nvSpPr>
        <p:spPr>
          <a:xfrm>
            <a:off x="5528346" y="3875963"/>
            <a:ext cx="1324740" cy="523220"/>
          </a:xfrm>
          <a:prstGeom prst="rect">
            <a:avLst/>
          </a:prstGeom>
          <a:noFill/>
        </p:spPr>
        <p:txBody>
          <a:bodyPr wrap="square" rtlCol="0">
            <a:spAutoFit/>
          </a:bodyPr>
          <a:lstStyle/>
          <a:p>
            <a:pPr algn="ctr"/>
            <a:r>
              <a:rPr lang="en-AU" sz="1400" dirty="0" smtClean="0"/>
              <a:t>Est ~2-4 hrs/</a:t>
            </a:r>
            <a:r>
              <a:rPr lang="en-AU" sz="1400" dirty="0" err="1" smtClean="0"/>
              <a:t>yr</a:t>
            </a:r>
            <a:r>
              <a:rPr lang="en-AU" sz="1400" dirty="0" smtClean="0"/>
              <a:t> per principal</a:t>
            </a:r>
            <a:endParaRPr lang="en-AU" sz="1400" dirty="0"/>
          </a:p>
        </p:txBody>
      </p:sp>
      <p:sp>
        <p:nvSpPr>
          <p:cNvPr id="40" name="TextBox 39"/>
          <p:cNvSpPr txBox="1">
            <a:spLocks/>
          </p:cNvSpPr>
          <p:nvPr/>
        </p:nvSpPr>
        <p:spPr>
          <a:xfrm>
            <a:off x="5575271" y="5939938"/>
            <a:ext cx="1324740" cy="954107"/>
          </a:xfrm>
          <a:prstGeom prst="rect">
            <a:avLst/>
          </a:prstGeom>
          <a:noFill/>
        </p:spPr>
        <p:txBody>
          <a:bodyPr wrap="square" rtlCol="0">
            <a:spAutoFit/>
          </a:bodyPr>
          <a:lstStyle/>
          <a:p>
            <a:pPr algn="ctr"/>
            <a:r>
              <a:rPr lang="en-AU" sz="1400" dirty="0" smtClean="0"/>
              <a:t>Dramatic reduction in total number of roll-outs</a:t>
            </a:r>
            <a:endParaRPr lang="en-AU" sz="1400" dirty="0"/>
          </a:p>
        </p:txBody>
      </p:sp>
      <p:sp>
        <p:nvSpPr>
          <p:cNvPr id="41" name="TextBox 40"/>
          <p:cNvSpPr txBox="1">
            <a:spLocks/>
          </p:cNvSpPr>
          <p:nvPr/>
        </p:nvSpPr>
        <p:spPr>
          <a:xfrm>
            <a:off x="5560649" y="5193328"/>
            <a:ext cx="1296414" cy="523220"/>
          </a:xfrm>
          <a:prstGeom prst="rect">
            <a:avLst/>
          </a:prstGeom>
          <a:noFill/>
        </p:spPr>
        <p:txBody>
          <a:bodyPr wrap="square" rtlCol="0">
            <a:spAutoFit/>
          </a:bodyPr>
          <a:lstStyle/>
          <a:p>
            <a:pPr algn="ctr"/>
            <a:r>
              <a:rPr lang="en-AU" sz="1400" dirty="0" smtClean="0"/>
              <a:t>Est ~4-8hrs /</a:t>
            </a:r>
            <a:r>
              <a:rPr lang="en-AU" sz="1400" dirty="0" err="1" smtClean="0"/>
              <a:t>yr</a:t>
            </a:r>
            <a:r>
              <a:rPr lang="en-AU" sz="1400" dirty="0" smtClean="0"/>
              <a:t> per principal</a:t>
            </a:r>
            <a:endParaRPr lang="en-AU" sz="1400" dirty="0"/>
          </a:p>
        </p:txBody>
      </p:sp>
      <p:sp>
        <p:nvSpPr>
          <p:cNvPr id="9" name="TextBox 8"/>
          <p:cNvSpPr txBox="1"/>
          <p:nvPr/>
        </p:nvSpPr>
        <p:spPr>
          <a:xfrm>
            <a:off x="10893299" y="79513"/>
            <a:ext cx="1071245" cy="338554"/>
          </a:xfrm>
          <a:prstGeom prst="rect">
            <a:avLst/>
          </a:prstGeom>
          <a:noFill/>
        </p:spPr>
        <p:txBody>
          <a:bodyPr wrap="square" rtlCol="0">
            <a:spAutoFit/>
          </a:bodyPr>
          <a:lstStyle/>
          <a:p>
            <a:r>
              <a:rPr lang="en-AU" sz="1600" dirty="0" smtClean="0"/>
              <a:t>TAB A</a:t>
            </a:r>
            <a:endParaRPr lang="en-AU" sz="1600" dirty="0"/>
          </a:p>
        </p:txBody>
      </p:sp>
    </p:spTree>
    <p:extLst>
      <p:ext uri="{BB962C8B-B14F-4D97-AF65-F5344CB8AC3E}">
        <p14:creationId xmlns:p14="http://schemas.microsoft.com/office/powerpoint/2010/main" val="261027707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Object 42" hidden="1"/>
          <p:cNvGraphicFramePr>
            <a:graphicFrameLocks noChangeAspect="1"/>
          </p:cNvGraphicFramePr>
          <p:nvPr>
            <p:custDataLst>
              <p:tags r:id="rId2"/>
            </p:custDataLs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5414" name="think-cell Slide" r:id="rId5" imgW="501" imgH="502" progId="TCLayout.ActiveDocument.1">
                  <p:embed/>
                </p:oleObj>
              </mc:Choice>
              <mc:Fallback>
                <p:oleObj name="think-cell Slide" r:id="rId5" imgW="501" imgH="502" progId="TCLayout.ActiveDocument.1">
                  <p:embed/>
                  <p:pic>
                    <p:nvPicPr>
                      <p:cNvPr id="43" name="Object 42"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42" name="Rectangle 41" hidden="1"/>
          <p:cNvSpPr/>
          <p:nvPr>
            <p:custDataLst>
              <p:tags r:id="rId3"/>
            </p:custDataLst>
          </p:nvPr>
        </p:nvSpPr>
        <p:spPr>
          <a:xfrm>
            <a:off x="0" y="0"/>
            <a:ext cx="211667" cy="211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1219170" fontAlgn="base">
              <a:spcBef>
                <a:spcPct val="0"/>
              </a:spcBef>
              <a:spcAft>
                <a:spcPct val="0"/>
              </a:spcAft>
            </a:pPr>
            <a:endParaRPr kumimoji="0" lang="de-DE" sz="3200" u="none" strike="noStrike" kern="1200" cap="none" spc="0" normalizeH="0" noProof="0" dirty="0">
              <a:ln>
                <a:noFill/>
              </a:ln>
              <a:solidFill>
                <a:prstClr val="white"/>
              </a:solidFill>
              <a:effectLst/>
              <a:uLnTx/>
              <a:uFillTx/>
              <a:latin typeface="Montserrat Medium"/>
              <a:ea typeface="ＭＳ Ｐゴシック" panose="020B0600070205080204" pitchFamily="34" charset="-128"/>
              <a:sym typeface="Montserrat Medium"/>
            </a:endParaRPr>
          </a:p>
        </p:txBody>
      </p:sp>
      <p:sp>
        <p:nvSpPr>
          <p:cNvPr id="2" name="Title 1"/>
          <p:cNvSpPr>
            <a:spLocks noGrp="1"/>
          </p:cNvSpPr>
          <p:nvPr>
            <p:ph type="title"/>
          </p:nvPr>
        </p:nvSpPr>
        <p:spPr>
          <a:xfrm>
            <a:off x="494151" y="202178"/>
            <a:ext cx="11034649" cy="662517"/>
          </a:xfrm>
        </p:spPr>
        <p:txBody>
          <a:bodyPr/>
          <a:lstStyle/>
          <a:p>
            <a:r>
              <a:rPr lang="de-DE" dirty="0" smtClean="0"/>
              <a:t>Proposed governance approach – combines local prioritisation with central oversight</a:t>
            </a:r>
            <a:endParaRPr lang="de-DE" dirty="0"/>
          </a:p>
        </p:txBody>
      </p:sp>
      <p:cxnSp>
        <p:nvCxnSpPr>
          <p:cNvPr id="14" name="Elbow Connector 13"/>
          <p:cNvCxnSpPr>
            <a:stCxn id="127" idx="3"/>
            <a:endCxn id="95" idx="1"/>
          </p:cNvCxnSpPr>
          <p:nvPr/>
        </p:nvCxnSpPr>
        <p:spPr>
          <a:xfrm flipV="1">
            <a:off x="6153584" y="2539038"/>
            <a:ext cx="220001" cy="1244998"/>
          </a:xfrm>
          <a:prstGeom prst="bentConnector3">
            <a:avLst>
              <a:gd name="adj1" fmla="val 50000"/>
            </a:avLst>
          </a:prstGeom>
          <a:ln w="28575">
            <a:solidFill>
              <a:srgbClr val="425968"/>
            </a:solidFill>
            <a:tailEnd type="triangle"/>
          </a:ln>
        </p:spPr>
        <p:style>
          <a:lnRef idx="1">
            <a:schemeClr val="accent1"/>
          </a:lnRef>
          <a:fillRef idx="0">
            <a:schemeClr val="accent1"/>
          </a:fillRef>
          <a:effectRef idx="0">
            <a:schemeClr val="accent1"/>
          </a:effectRef>
          <a:fontRef idx="minor">
            <a:schemeClr val="tx1"/>
          </a:fontRef>
        </p:style>
      </p:cxnSp>
      <p:cxnSp>
        <p:nvCxnSpPr>
          <p:cNvPr id="131" name="Elbow Connector 130"/>
          <p:cNvCxnSpPr>
            <a:stCxn id="127" idx="3"/>
            <a:endCxn id="159" idx="1"/>
          </p:cNvCxnSpPr>
          <p:nvPr/>
        </p:nvCxnSpPr>
        <p:spPr>
          <a:xfrm>
            <a:off x="6153584" y="3784036"/>
            <a:ext cx="224494" cy="1514450"/>
          </a:xfrm>
          <a:prstGeom prst="bentConnector3">
            <a:avLst>
              <a:gd name="adj1" fmla="val 50000"/>
            </a:avLst>
          </a:prstGeom>
          <a:ln w="28575">
            <a:solidFill>
              <a:srgbClr val="425968"/>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a:cxnSpLocks/>
          </p:cNvCxnSpPr>
          <p:nvPr/>
        </p:nvCxnSpPr>
        <p:spPr>
          <a:xfrm>
            <a:off x="532519" y="1783259"/>
            <a:ext cx="1755368"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p:cNvCxnSpPr>
            <a:cxnSpLocks/>
          </p:cNvCxnSpPr>
          <p:nvPr/>
        </p:nvCxnSpPr>
        <p:spPr>
          <a:xfrm>
            <a:off x="530675" y="5757619"/>
            <a:ext cx="11031355"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20" name="Rectangle 119"/>
          <p:cNvSpPr>
            <a:spLocks/>
          </p:cNvSpPr>
          <p:nvPr/>
        </p:nvSpPr>
        <p:spPr>
          <a:xfrm>
            <a:off x="532520" y="1854486"/>
            <a:ext cx="1755368" cy="518838"/>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AU" sz="1200" b="1" i="0" u="none" strike="noStrike" kern="1200" cap="none" spc="0" normalizeH="0" baseline="0" noProof="0" dirty="0">
              <a:ln>
                <a:noFill/>
              </a:ln>
              <a:solidFill>
                <a:prstClr val="white">
                  <a:lumMod val="50000"/>
                </a:prstClr>
              </a:solidFill>
              <a:effectLst/>
              <a:uLnTx/>
              <a:uFillTx/>
              <a:latin typeface="Montserrat Light"/>
              <a:ea typeface="+mn-ea"/>
              <a:cs typeface="+mn-cs"/>
            </a:endParaRPr>
          </a:p>
        </p:txBody>
      </p:sp>
      <p:sp>
        <p:nvSpPr>
          <p:cNvPr id="3" name="TextBox 2"/>
          <p:cNvSpPr txBox="1"/>
          <p:nvPr/>
        </p:nvSpPr>
        <p:spPr>
          <a:xfrm>
            <a:off x="621809" y="1899903"/>
            <a:ext cx="1617062" cy="369332"/>
          </a:xfrm>
          <a:prstGeom prst="rect">
            <a:avLst/>
          </a:prstGeom>
          <a:solidFill>
            <a:schemeClr val="accent5">
              <a:lumMod val="20000"/>
              <a:lumOff val="80000"/>
            </a:schemeClr>
          </a:solidFill>
          <a:extLst/>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smtClean="0">
                <a:ln>
                  <a:noFill/>
                </a:ln>
                <a:solidFill>
                  <a:prstClr val="white">
                    <a:lumMod val="50000"/>
                  </a:prstClr>
                </a:solidFill>
                <a:effectLst/>
                <a:uLnTx/>
                <a:uFillTx/>
                <a:latin typeface="Montserrat Light"/>
                <a:ea typeface="+mn-ea"/>
                <a:cs typeface="+mn-cs"/>
              </a:rPr>
              <a:t>Local Idea</a:t>
            </a:r>
            <a:endParaRPr kumimoji="0" lang="en-AU" sz="1200" b="1" i="0" u="none" strike="noStrike" kern="1200" cap="none" spc="0" normalizeH="0" baseline="0" noProof="0" dirty="0" smtClean="0">
              <a:ln>
                <a:noFill/>
              </a:ln>
              <a:solidFill>
                <a:prstClr val="white">
                  <a:lumMod val="50000"/>
                </a:prstClr>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smtClean="0">
                <a:ln>
                  <a:noFill/>
                </a:ln>
                <a:solidFill>
                  <a:prstClr val="white">
                    <a:lumMod val="50000"/>
                  </a:prstClr>
                </a:solidFill>
                <a:effectLst/>
                <a:uLnTx/>
                <a:uFillTx/>
                <a:latin typeface="Arial" panose="020B0604020202020204" pitchFamily="34" charset="0"/>
                <a:ea typeface="+mn-ea"/>
                <a:cs typeface="+mn-cs"/>
              </a:rPr>
              <a:t>Linked to DoE priority</a:t>
            </a:r>
            <a:endParaRPr kumimoji="0" lang="en-AU" sz="12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grpSp>
        <p:nvGrpSpPr>
          <p:cNvPr id="102" name="Group 101"/>
          <p:cNvGrpSpPr/>
          <p:nvPr/>
        </p:nvGrpSpPr>
        <p:grpSpPr>
          <a:xfrm>
            <a:off x="532520" y="2522538"/>
            <a:ext cx="1755368" cy="518838"/>
            <a:chOff x="526498" y="1819802"/>
            <a:chExt cx="1755368" cy="518838"/>
          </a:xfrm>
          <a:solidFill>
            <a:schemeClr val="accent5">
              <a:lumMod val="20000"/>
              <a:lumOff val="80000"/>
            </a:schemeClr>
          </a:solidFill>
        </p:grpSpPr>
        <p:sp>
          <p:nvSpPr>
            <p:cNvPr id="103" name="Rectangle 102"/>
            <p:cNvSpPr>
              <a:spLocks/>
            </p:cNvSpPr>
            <p:nvPr/>
          </p:nvSpPr>
          <p:spPr>
            <a:xfrm>
              <a:off x="526498" y="1819802"/>
              <a:ext cx="1755368" cy="518838"/>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AU" sz="1200" b="1" i="0" u="none" strike="noStrike" kern="1200" cap="none" spc="0" normalizeH="0" baseline="0" noProof="0" dirty="0">
                <a:ln>
                  <a:noFill/>
                </a:ln>
                <a:solidFill>
                  <a:prstClr val="white">
                    <a:lumMod val="50000"/>
                  </a:prstClr>
                </a:solidFill>
                <a:effectLst/>
                <a:uLnTx/>
                <a:uFillTx/>
                <a:latin typeface="Montserrat Light"/>
                <a:ea typeface="+mn-ea"/>
                <a:cs typeface="+mn-cs"/>
              </a:endParaRPr>
            </a:p>
          </p:txBody>
        </p:sp>
        <p:sp>
          <p:nvSpPr>
            <p:cNvPr id="104" name="TextBox 103"/>
            <p:cNvSpPr txBox="1"/>
            <p:nvPr/>
          </p:nvSpPr>
          <p:spPr>
            <a:xfrm>
              <a:off x="615787" y="1865219"/>
              <a:ext cx="1617062" cy="184666"/>
            </a:xfrm>
            <a:prstGeom prst="rect">
              <a:avLst/>
            </a:prstGeom>
            <a:grpFill/>
            <a:extLst/>
          </p:spPr>
          <p:txBody>
            <a:bodyPr vert="horz"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smtClean="0">
                  <a:ln>
                    <a:noFill/>
                  </a:ln>
                  <a:solidFill>
                    <a:prstClr val="white">
                      <a:lumMod val="50000"/>
                    </a:prstClr>
                  </a:solidFill>
                  <a:effectLst/>
                  <a:uLnTx/>
                  <a:uFillTx/>
                  <a:latin typeface="Montserrat Light"/>
                  <a:ea typeface="+mn-ea"/>
                  <a:cs typeface="+mn-cs"/>
                </a:rPr>
                <a:t>“</a:t>
              </a:r>
              <a:endParaRPr kumimoji="0" lang="en-AU" sz="12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grpSp>
      <p:grpSp>
        <p:nvGrpSpPr>
          <p:cNvPr id="105" name="Group 104"/>
          <p:cNvGrpSpPr/>
          <p:nvPr/>
        </p:nvGrpSpPr>
        <p:grpSpPr>
          <a:xfrm>
            <a:off x="532520" y="3190590"/>
            <a:ext cx="1755368" cy="518838"/>
            <a:chOff x="526498" y="1819802"/>
            <a:chExt cx="1755368" cy="518838"/>
          </a:xfrm>
          <a:solidFill>
            <a:schemeClr val="accent5">
              <a:lumMod val="20000"/>
              <a:lumOff val="80000"/>
            </a:schemeClr>
          </a:solidFill>
        </p:grpSpPr>
        <p:sp>
          <p:nvSpPr>
            <p:cNvPr id="106" name="Rectangle 105"/>
            <p:cNvSpPr>
              <a:spLocks/>
            </p:cNvSpPr>
            <p:nvPr/>
          </p:nvSpPr>
          <p:spPr>
            <a:xfrm>
              <a:off x="526498" y="1819802"/>
              <a:ext cx="1755368" cy="518838"/>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AU" sz="1200" b="1" i="0" u="none" strike="noStrike" kern="1200" cap="none" spc="0" normalizeH="0" baseline="0" noProof="0" dirty="0">
                <a:ln>
                  <a:noFill/>
                </a:ln>
                <a:solidFill>
                  <a:prstClr val="white">
                    <a:lumMod val="50000"/>
                  </a:prstClr>
                </a:solidFill>
                <a:effectLst/>
                <a:uLnTx/>
                <a:uFillTx/>
                <a:latin typeface="Montserrat Light"/>
                <a:ea typeface="+mn-ea"/>
                <a:cs typeface="+mn-cs"/>
              </a:endParaRPr>
            </a:p>
          </p:txBody>
        </p:sp>
        <p:sp>
          <p:nvSpPr>
            <p:cNvPr id="108" name="TextBox 107"/>
            <p:cNvSpPr txBox="1"/>
            <p:nvPr/>
          </p:nvSpPr>
          <p:spPr>
            <a:xfrm>
              <a:off x="615787" y="1865219"/>
              <a:ext cx="1617062" cy="184666"/>
            </a:xfrm>
            <a:prstGeom prst="rect">
              <a:avLst/>
            </a:prstGeom>
            <a:grpFill/>
            <a:extLst/>
          </p:spPr>
          <p:txBody>
            <a:bodyPr vert="horz"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smtClean="0">
                  <a:ln>
                    <a:noFill/>
                  </a:ln>
                  <a:solidFill>
                    <a:prstClr val="white">
                      <a:lumMod val="50000"/>
                    </a:prstClr>
                  </a:solidFill>
                  <a:effectLst/>
                  <a:uLnTx/>
                  <a:uFillTx/>
                  <a:latin typeface="Montserrat Light"/>
                  <a:ea typeface="+mn-ea"/>
                  <a:cs typeface="+mn-cs"/>
                </a:rPr>
                <a:t>“</a:t>
              </a:r>
              <a:endParaRPr kumimoji="0" lang="en-AU" sz="12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grpSp>
      <p:grpSp>
        <p:nvGrpSpPr>
          <p:cNvPr id="109" name="Group 108"/>
          <p:cNvGrpSpPr/>
          <p:nvPr/>
        </p:nvGrpSpPr>
        <p:grpSpPr>
          <a:xfrm>
            <a:off x="532520" y="3858642"/>
            <a:ext cx="1755368" cy="518838"/>
            <a:chOff x="526498" y="1819802"/>
            <a:chExt cx="1755368" cy="518838"/>
          </a:xfrm>
          <a:solidFill>
            <a:schemeClr val="accent5">
              <a:lumMod val="20000"/>
              <a:lumOff val="80000"/>
            </a:schemeClr>
          </a:solidFill>
        </p:grpSpPr>
        <p:sp>
          <p:nvSpPr>
            <p:cNvPr id="112" name="Rectangle 111"/>
            <p:cNvSpPr>
              <a:spLocks/>
            </p:cNvSpPr>
            <p:nvPr/>
          </p:nvSpPr>
          <p:spPr>
            <a:xfrm>
              <a:off x="526498" y="1819802"/>
              <a:ext cx="1755368" cy="518838"/>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AU" sz="1200" b="1" i="0" u="none" strike="noStrike" kern="1200" cap="none" spc="0" normalizeH="0" baseline="0" noProof="0" dirty="0">
                <a:ln>
                  <a:noFill/>
                </a:ln>
                <a:solidFill>
                  <a:prstClr val="white">
                    <a:lumMod val="50000"/>
                  </a:prstClr>
                </a:solidFill>
                <a:effectLst/>
                <a:uLnTx/>
                <a:uFillTx/>
                <a:latin typeface="Montserrat Light"/>
                <a:ea typeface="+mn-ea"/>
                <a:cs typeface="+mn-cs"/>
              </a:endParaRPr>
            </a:p>
          </p:txBody>
        </p:sp>
        <p:sp>
          <p:nvSpPr>
            <p:cNvPr id="114" name="TextBox 113"/>
            <p:cNvSpPr txBox="1"/>
            <p:nvPr/>
          </p:nvSpPr>
          <p:spPr>
            <a:xfrm>
              <a:off x="615787" y="1865219"/>
              <a:ext cx="1617062" cy="184666"/>
            </a:xfrm>
            <a:prstGeom prst="rect">
              <a:avLst/>
            </a:prstGeom>
            <a:grpFill/>
            <a:extLst/>
          </p:spPr>
          <p:txBody>
            <a:bodyPr vert="horz"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smtClean="0">
                  <a:ln>
                    <a:noFill/>
                  </a:ln>
                  <a:solidFill>
                    <a:prstClr val="white">
                      <a:lumMod val="50000"/>
                    </a:prstClr>
                  </a:solidFill>
                  <a:effectLst/>
                  <a:uLnTx/>
                  <a:uFillTx/>
                  <a:latin typeface="Montserrat Light"/>
                  <a:ea typeface="+mn-ea"/>
                  <a:cs typeface="+mn-cs"/>
                </a:rPr>
                <a:t>“</a:t>
              </a:r>
              <a:endParaRPr kumimoji="0" lang="en-AU" sz="12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grpSp>
      <p:grpSp>
        <p:nvGrpSpPr>
          <p:cNvPr id="115" name="Group 114"/>
          <p:cNvGrpSpPr/>
          <p:nvPr/>
        </p:nvGrpSpPr>
        <p:grpSpPr>
          <a:xfrm>
            <a:off x="532520" y="4526694"/>
            <a:ext cx="1755368" cy="518838"/>
            <a:chOff x="526498" y="1819802"/>
            <a:chExt cx="1755368" cy="518838"/>
          </a:xfrm>
          <a:solidFill>
            <a:schemeClr val="accent5">
              <a:lumMod val="20000"/>
              <a:lumOff val="80000"/>
            </a:schemeClr>
          </a:solidFill>
        </p:grpSpPr>
        <p:sp>
          <p:nvSpPr>
            <p:cNvPr id="121" name="Rectangle 120"/>
            <p:cNvSpPr>
              <a:spLocks/>
            </p:cNvSpPr>
            <p:nvPr/>
          </p:nvSpPr>
          <p:spPr>
            <a:xfrm>
              <a:off x="526498" y="1819802"/>
              <a:ext cx="1755368" cy="518838"/>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AU" sz="1200" b="1" i="0" u="none" strike="noStrike" kern="1200" cap="none" spc="0" normalizeH="0" baseline="0" noProof="0" dirty="0">
                <a:ln>
                  <a:noFill/>
                </a:ln>
                <a:solidFill>
                  <a:prstClr val="white">
                    <a:lumMod val="50000"/>
                  </a:prstClr>
                </a:solidFill>
                <a:effectLst/>
                <a:uLnTx/>
                <a:uFillTx/>
                <a:latin typeface="Montserrat Light"/>
                <a:ea typeface="+mn-ea"/>
                <a:cs typeface="+mn-cs"/>
              </a:endParaRPr>
            </a:p>
          </p:txBody>
        </p:sp>
        <p:sp>
          <p:nvSpPr>
            <p:cNvPr id="122" name="TextBox 121"/>
            <p:cNvSpPr txBox="1"/>
            <p:nvPr/>
          </p:nvSpPr>
          <p:spPr>
            <a:xfrm>
              <a:off x="615787" y="1865219"/>
              <a:ext cx="1617062" cy="184666"/>
            </a:xfrm>
            <a:prstGeom prst="rect">
              <a:avLst/>
            </a:prstGeom>
            <a:grpFill/>
            <a:extLst/>
          </p:spPr>
          <p:txBody>
            <a:bodyPr vert="horz"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smtClean="0">
                  <a:ln>
                    <a:noFill/>
                  </a:ln>
                  <a:solidFill>
                    <a:prstClr val="white">
                      <a:lumMod val="50000"/>
                    </a:prstClr>
                  </a:solidFill>
                  <a:effectLst/>
                  <a:uLnTx/>
                  <a:uFillTx/>
                  <a:latin typeface="Montserrat Light"/>
                  <a:ea typeface="+mn-ea"/>
                  <a:cs typeface="+mn-cs"/>
                </a:rPr>
                <a:t>“</a:t>
              </a:r>
              <a:endParaRPr kumimoji="0" lang="en-AU" sz="12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grpSp>
      <p:grpSp>
        <p:nvGrpSpPr>
          <p:cNvPr id="123" name="Group 122"/>
          <p:cNvGrpSpPr/>
          <p:nvPr/>
        </p:nvGrpSpPr>
        <p:grpSpPr>
          <a:xfrm>
            <a:off x="532520" y="5194748"/>
            <a:ext cx="1755368" cy="518838"/>
            <a:chOff x="526498" y="1819802"/>
            <a:chExt cx="1755368" cy="518838"/>
          </a:xfrm>
          <a:solidFill>
            <a:schemeClr val="accent5">
              <a:lumMod val="20000"/>
              <a:lumOff val="80000"/>
            </a:schemeClr>
          </a:solidFill>
        </p:grpSpPr>
        <p:sp>
          <p:nvSpPr>
            <p:cNvPr id="124" name="Rectangle 123"/>
            <p:cNvSpPr>
              <a:spLocks/>
            </p:cNvSpPr>
            <p:nvPr/>
          </p:nvSpPr>
          <p:spPr>
            <a:xfrm>
              <a:off x="526498" y="1819802"/>
              <a:ext cx="1755368" cy="518838"/>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AU" sz="1200" b="1" i="0" u="none" strike="noStrike" kern="1200" cap="none" spc="0" normalizeH="0" baseline="0" noProof="0" dirty="0">
                <a:ln>
                  <a:noFill/>
                </a:ln>
                <a:solidFill>
                  <a:prstClr val="white">
                    <a:lumMod val="50000"/>
                  </a:prstClr>
                </a:solidFill>
                <a:effectLst/>
                <a:uLnTx/>
                <a:uFillTx/>
                <a:latin typeface="Montserrat Light"/>
                <a:ea typeface="+mn-ea"/>
                <a:cs typeface="+mn-cs"/>
              </a:endParaRPr>
            </a:p>
          </p:txBody>
        </p:sp>
        <p:sp>
          <p:nvSpPr>
            <p:cNvPr id="125" name="TextBox 124"/>
            <p:cNvSpPr txBox="1"/>
            <p:nvPr/>
          </p:nvSpPr>
          <p:spPr>
            <a:xfrm>
              <a:off x="615787" y="1865219"/>
              <a:ext cx="1617062" cy="184666"/>
            </a:xfrm>
            <a:prstGeom prst="rect">
              <a:avLst/>
            </a:prstGeom>
            <a:grpFill/>
            <a:extLst/>
          </p:spPr>
          <p:txBody>
            <a:bodyPr vert="horz"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smtClean="0">
                  <a:ln>
                    <a:noFill/>
                  </a:ln>
                  <a:solidFill>
                    <a:prstClr val="white">
                      <a:lumMod val="50000"/>
                    </a:prstClr>
                  </a:solidFill>
                  <a:effectLst/>
                  <a:uLnTx/>
                  <a:uFillTx/>
                  <a:latin typeface="Montserrat Light"/>
                  <a:ea typeface="+mn-ea"/>
                  <a:cs typeface="+mn-cs"/>
                </a:rPr>
                <a:t>“</a:t>
              </a:r>
              <a:endParaRPr kumimoji="0" lang="en-AU" sz="12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grpSp>
      <p:sp>
        <p:nvSpPr>
          <p:cNvPr id="165" name="Rectangle 164"/>
          <p:cNvSpPr>
            <a:spLocks/>
          </p:cNvSpPr>
          <p:nvPr/>
        </p:nvSpPr>
        <p:spPr>
          <a:xfrm>
            <a:off x="527381" y="5796803"/>
            <a:ext cx="1755368" cy="10196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66" name="TextBox 165"/>
          <p:cNvSpPr txBox="1">
            <a:spLocks/>
          </p:cNvSpPr>
          <p:nvPr/>
        </p:nvSpPr>
        <p:spPr>
          <a:xfrm>
            <a:off x="527381" y="5836160"/>
            <a:ext cx="1755368" cy="833562"/>
          </a:xfrm>
          <a:prstGeom prst="rect">
            <a:avLst/>
          </a:prstGeom>
          <a:solidFill>
            <a:schemeClr val="tx1">
              <a:lumMod val="65000"/>
              <a:lumOff val="35000"/>
            </a:schemeClr>
          </a:solidFill>
        </p:spPr>
        <p:txBody>
          <a:bodyPr wrap="square" lIns="0" tIns="0" rIns="0" bIns="0" rtlCol="0">
            <a:spAutoFit/>
          </a:bodyPr>
          <a:lstStyle/>
          <a:p>
            <a:pPr marL="144000" marR="0" lvl="0" indent="-108000" algn="l" defTabSz="914378" rtl="0" eaLnBrk="1" fontAlgn="auto" latinLnBrk="0" hangingPunct="1">
              <a:lnSpc>
                <a:spcPct val="100000"/>
              </a:lnSpc>
              <a:spcBef>
                <a:spcPts val="225"/>
              </a:spcBef>
              <a:spcAft>
                <a:spcPts val="0"/>
              </a:spcAft>
              <a:buClr>
                <a:prstClr val="white"/>
              </a:buClr>
              <a:buSzTx/>
              <a:buFont typeface="Arial" pitchFamily="34" charset="0"/>
              <a:buChar char="•"/>
              <a:tabLst/>
              <a:defRPr/>
            </a:pPr>
            <a:r>
              <a:rPr kumimoji="0" lang="en-US" sz="1050" b="1" i="0" u="none" strike="noStrike" kern="1200" cap="none" spc="0" normalizeH="0" baseline="0" noProof="0" dirty="0" smtClean="0">
                <a:ln>
                  <a:noFill/>
                </a:ln>
                <a:solidFill>
                  <a:schemeClr val="bg1"/>
                </a:solidFill>
                <a:effectLst/>
                <a:uLnTx/>
                <a:uFillTx/>
                <a:latin typeface="Montserrat Light"/>
                <a:ea typeface="+mn-ea"/>
                <a:cs typeface="Arial" pitchFamily="34" charset="0"/>
              </a:rPr>
              <a:t>Ideas </a:t>
            </a:r>
            <a:r>
              <a:rPr lang="en-US" sz="1050" b="1" dirty="0" smtClean="0">
                <a:solidFill>
                  <a:schemeClr val="bg1"/>
                </a:solidFill>
                <a:latin typeface="Montserrat Light"/>
                <a:cs typeface="Arial" pitchFamily="34" charset="0"/>
              </a:rPr>
              <a:t>generated by schools, </a:t>
            </a:r>
            <a:r>
              <a:rPr kumimoji="0" lang="en-US" sz="1050" b="1" i="0" u="none" strike="noStrike" kern="1200" cap="none" spc="0" normalizeH="0" baseline="0" noProof="0" dirty="0" smtClean="0">
                <a:ln>
                  <a:noFill/>
                </a:ln>
                <a:solidFill>
                  <a:schemeClr val="bg1"/>
                </a:solidFill>
                <a:effectLst/>
                <a:uLnTx/>
                <a:uFillTx/>
                <a:latin typeface="Montserrat Light"/>
                <a:ea typeface="+mn-ea"/>
                <a:cs typeface="Arial" pitchFamily="34" charset="0"/>
              </a:rPr>
              <a:t>directorate,</a:t>
            </a:r>
            <a:r>
              <a:rPr kumimoji="0" lang="en-US" sz="1050" b="1" i="0" u="none" strike="noStrike" kern="1200" cap="none" spc="0" normalizeH="0" noProof="0" dirty="0" smtClean="0">
                <a:ln>
                  <a:noFill/>
                </a:ln>
                <a:solidFill>
                  <a:schemeClr val="bg1"/>
                </a:solidFill>
                <a:effectLst/>
                <a:uLnTx/>
                <a:uFillTx/>
                <a:latin typeface="Montserrat Light"/>
                <a:ea typeface="+mn-ea"/>
                <a:cs typeface="Arial" pitchFamily="34" charset="0"/>
              </a:rPr>
              <a:t> exec</a:t>
            </a:r>
            <a:r>
              <a:rPr lang="en-US" sz="1050" b="1" dirty="0" smtClean="0">
                <a:solidFill>
                  <a:schemeClr val="bg1"/>
                </a:solidFill>
                <a:latin typeface="Montserrat Light"/>
                <a:cs typeface="Arial" pitchFamily="34" charset="0"/>
              </a:rPr>
              <a:t>. </a:t>
            </a:r>
          </a:p>
          <a:p>
            <a:pPr marL="144000" marR="0" lvl="0" indent="-108000" algn="l" defTabSz="914378" rtl="0" eaLnBrk="1" fontAlgn="auto" latinLnBrk="0" hangingPunct="1">
              <a:lnSpc>
                <a:spcPct val="100000"/>
              </a:lnSpc>
              <a:spcBef>
                <a:spcPts val="225"/>
              </a:spcBef>
              <a:spcAft>
                <a:spcPts val="0"/>
              </a:spcAft>
              <a:buClr>
                <a:prstClr val="white"/>
              </a:buClr>
              <a:buSzTx/>
              <a:buFont typeface="Arial" pitchFamily="34" charset="0"/>
              <a:buChar char="•"/>
              <a:tabLst/>
              <a:defRPr/>
            </a:pPr>
            <a:r>
              <a:rPr kumimoji="0" lang="en-US" sz="1050" b="1" i="0" u="none" strike="noStrike" kern="1200" cap="none" spc="0" normalizeH="0" baseline="0" noProof="0" dirty="0" smtClean="0">
                <a:ln>
                  <a:noFill/>
                </a:ln>
                <a:solidFill>
                  <a:schemeClr val="bg1"/>
                </a:solidFill>
                <a:effectLst/>
                <a:uLnTx/>
                <a:uFillTx/>
                <a:latin typeface="Montserrat Light"/>
                <a:ea typeface="+mn-ea"/>
                <a:cs typeface="Arial" pitchFamily="34" charset="0"/>
              </a:rPr>
              <a:t>Demonstrable school</a:t>
            </a:r>
            <a:r>
              <a:rPr kumimoji="0" lang="en-US" sz="1050" b="1" i="0" u="none" strike="noStrike" kern="1200" cap="none" spc="0" normalizeH="0" noProof="0" dirty="0" smtClean="0">
                <a:ln>
                  <a:noFill/>
                </a:ln>
                <a:solidFill>
                  <a:schemeClr val="bg1"/>
                </a:solidFill>
                <a:effectLst/>
                <a:uLnTx/>
                <a:uFillTx/>
                <a:latin typeface="Montserrat Light"/>
                <a:ea typeface="+mn-ea"/>
                <a:cs typeface="Arial" pitchFamily="34" charset="0"/>
              </a:rPr>
              <a:t> impact required</a:t>
            </a:r>
            <a:endParaRPr kumimoji="0" lang="en-US" sz="1050" b="1" i="0" u="none" strike="noStrike" kern="1200" cap="none" spc="0" normalizeH="0" baseline="0" noProof="0" dirty="0">
              <a:ln>
                <a:noFill/>
              </a:ln>
              <a:solidFill>
                <a:schemeClr val="bg1"/>
              </a:solidFill>
              <a:effectLst/>
              <a:uLnTx/>
              <a:uFillTx/>
              <a:latin typeface="Montserrat Light"/>
              <a:ea typeface="+mn-ea"/>
              <a:cs typeface="Arial" pitchFamily="34" charset="0"/>
            </a:endParaRPr>
          </a:p>
        </p:txBody>
      </p:sp>
      <p:sp>
        <p:nvSpPr>
          <p:cNvPr id="196" name="Rectangle 195"/>
          <p:cNvSpPr>
            <a:spLocks/>
          </p:cNvSpPr>
          <p:nvPr/>
        </p:nvSpPr>
        <p:spPr>
          <a:xfrm>
            <a:off x="6377915" y="5796803"/>
            <a:ext cx="2913934" cy="10196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97" name="TextBox 196"/>
          <p:cNvSpPr txBox="1">
            <a:spLocks/>
          </p:cNvSpPr>
          <p:nvPr/>
        </p:nvSpPr>
        <p:spPr>
          <a:xfrm>
            <a:off x="6377915" y="5836160"/>
            <a:ext cx="2850232" cy="1046440"/>
          </a:xfrm>
          <a:prstGeom prst="rect">
            <a:avLst/>
          </a:prstGeom>
          <a:noFill/>
        </p:spPr>
        <p:txBody>
          <a:bodyPr wrap="square" lIns="0" tIns="0" rIns="0" bIns="0" rtlCol="0">
            <a:spAutoFit/>
          </a:bodyPr>
          <a:lstStyle/>
          <a:p>
            <a:pPr marL="144000" marR="0" lvl="0" indent="-108000" algn="l" defTabSz="914378" rtl="0" eaLnBrk="1" fontAlgn="auto" latinLnBrk="0" hangingPunct="1">
              <a:lnSpc>
                <a:spcPct val="100000"/>
              </a:lnSpc>
              <a:spcBef>
                <a:spcPts val="225"/>
              </a:spcBef>
              <a:spcAft>
                <a:spcPts val="0"/>
              </a:spcAft>
              <a:buClr>
                <a:prstClr val="white"/>
              </a:buClr>
              <a:buSzTx/>
              <a:buFont typeface="Arial" pitchFamily="34" charset="0"/>
              <a:buChar char="•"/>
              <a:tabLst/>
              <a:defRPr/>
            </a:pPr>
            <a:r>
              <a:rPr kumimoji="0" lang="en-US" sz="1050" b="1" i="0" u="none" strike="noStrike" kern="1200" cap="none" spc="0" normalizeH="0" baseline="0" noProof="0" dirty="0" smtClean="0">
                <a:ln>
                  <a:noFill/>
                </a:ln>
                <a:solidFill>
                  <a:prstClr val="white"/>
                </a:solidFill>
                <a:effectLst/>
                <a:uLnTx/>
                <a:uFillTx/>
                <a:latin typeface="Montserrat Light"/>
                <a:ea typeface="+mn-ea"/>
                <a:cs typeface="Arial" pitchFamily="34" charset="0"/>
              </a:rPr>
              <a:t>Proposals </a:t>
            </a:r>
            <a:r>
              <a:rPr kumimoji="0" lang="en-US" sz="1050" b="1" i="0" u="none" strike="noStrike" kern="1200" cap="none" spc="0" normalizeH="0" baseline="0" noProof="0" dirty="0">
                <a:ln>
                  <a:noFill/>
                </a:ln>
                <a:solidFill>
                  <a:prstClr val="white"/>
                </a:solidFill>
                <a:effectLst/>
                <a:uLnTx/>
                <a:uFillTx/>
                <a:latin typeface="Montserrat Light"/>
                <a:ea typeface="+mn-ea"/>
                <a:cs typeface="Arial" pitchFamily="34" charset="0"/>
              </a:rPr>
              <a:t>governed according to type</a:t>
            </a:r>
          </a:p>
          <a:p>
            <a:pPr marL="144000" marR="0" lvl="0" indent="-108000" algn="l" defTabSz="914378" rtl="0" eaLnBrk="1" fontAlgn="auto" latinLnBrk="0" hangingPunct="1">
              <a:lnSpc>
                <a:spcPct val="100000"/>
              </a:lnSpc>
              <a:spcBef>
                <a:spcPts val="225"/>
              </a:spcBef>
              <a:spcAft>
                <a:spcPts val="0"/>
              </a:spcAft>
              <a:buClr>
                <a:prstClr val="white"/>
              </a:buClr>
              <a:buSzTx/>
              <a:buFont typeface="Arial" pitchFamily="34" charset="0"/>
              <a:buChar char="•"/>
              <a:tabLst/>
              <a:defRPr/>
            </a:pPr>
            <a:r>
              <a:rPr kumimoji="0" lang="en-US" sz="1050" b="1" i="0" u="none" strike="noStrike" kern="1200" cap="none" spc="0" normalizeH="0" baseline="0" noProof="0" dirty="0">
                <a:ln>
                  <a:noFill/>
                </a:ln>
                <a:solidFill>
                  <a:prstClr val="white"/>
                </a:solidFill>
                <a:effectLst/>
                <a:uLnTx/>
                <a:uFillTx/>
                <a:latin typeface="Montserrat Light"/>
                <a:ea typeface="+mn-ea"/>
                <a:cs typeface="Arial" pitchFamily="34" charset="0"/>
              </a:rPr>
              <a:t>Smaller projects have a local approach; larger are managed </a:t>
            </a:r>
            <a:r>
              <a:rPr kumimoji="0" lang="en-US" sz="1050" b="1" i="0" u="none" strike="noStrike" kern="1200" cap="none" spc="0" normalizeH="0" baseline="0" noProof="0" dirty="0" smtClean="0">
                <a:ln>
                  <a:noFill/>
                </a:ln>
                <a:solidFill>
                  <a:prstClr val="white"/>
                </a:solidFill>
                <a:effectLst/>
                <a:uLnTx/>
                <a:uFillTx/>
                <a:latin typeface="Montserrat Light"/>
                <a:ea typeface="+mn-ea"/>
                <a:cs typeface="Arial" pitchFamily="34" charset="0"/>
              </a:rPr>
              <a:t>centrally</a:t>
            </a:r>
            <a:endParaRPr lang="en-US" sz="1050" b="1" dirty="0">
              <a:solidFill>
                <a:prstClr val="white"/>
              </a:solidFill>
              <a:latin typeface="Montserrat Light"/>
              <a:cs typeface="Arial" pitchFamily="34" charset="0"/>
            </a:endParaRPr>
          </a:p>
          <a:p>
            <a:pPr marL="144000" marR="0" lvl="0" indent="-108000" algn="l" defTabSz="914378" rtl="0" eaLnBrk="1" fontAlgn="auto" latinLnBrk="0" hangingPunct="1">
              <a:lnSpc>
                <a:spcPct val="100000"/>
              </a:lnSpc>
              <a:spcBef>
                <a:spcPts val="225"/>
              </a:spcBef>
              <a:spcAft>
                <a:spcPts val="0"/>
              </a:spcAft>
              <a:buClr>
                <a:prstClr val="white"/>
              </a:buClr>
              <a:buSzTx/>
              <a:buFont typeface="Arial" pitchFamily="34" charset="0"/>
              <a:buChar char="•"/>
              <a:tabLst/>
              <a:defRPr/>
            </a:pPr>
            <a:r>
              <a:rPr lang="en-US" sz="1050" b="1" dirty="0" smtClean="0">
                <a:solidFill>
                  <a:prstClr val="white"/>
                </a:solidFill>
                <a:latin typeface="Montserrat Light"/>
                <a:cs typeface="Arial" pitchFamily="34" charset="0"/>
              </a:rPr>
              <a:t>Capped time impact per division – and department-wide </a:t>
            </a:r>
            <a:r>
              <a:rPr lang="en-US" sz="1050" dirty="0" smtClean="0">
                <a:solidFill>
                  <a:prstClr val="white"/>
                </a:solidFill>
                <a:latin typeface="Montserrat Light"/>
                <a:cs typeface="Arial" pitchFamily="34" charset="0"/>
              </a:rPr>
              <a:t>(can be traded) </a:t>
            </a:r>
            <a:endParaRPr kumimoji="0" lang="en-US" sz="1050" b="1" i="0" u="none" strike="noStrike" kern="1200" cap="none" spc="0" normalizeH="0" baseline="0" noProof="0" dirty="0">
              <a:ln>
                <a:noFill/>
              </a:ln>
              <a:solidFill>
                <a:prstClr val="white"/>
              </a:solidFill>
              <a:effectLst/>
              <a:uLnTx/>
              <a:uFillTx/>
              <a:latin typeface="Montserrat Light"/>
              <a:ea typeface="+mn-ea"/>
              <a:cs typeface="Arial" pitchFamily="34" charset="0"/>
            </a:endParaRPr>
          </a:p>
          <a:p>
            <a:pPr marL="144000" marR="0" lvl="0" indent="-108000" algn="l" defTabSz="914378" rtl="0" eaLnBrk="1" fontAlgn="auto" latinLnBrk="0" hangingPunct="1">
              <a:lnSpc>
                <a:spcPct val="100000"/>
              </a:lnSpc>
              <a:spcBef>
                <a:spcPts val="225"/>
              </a:spcBef>
              <a:spcAft>
                <a:spcPts val="0"/>
              </a:spcAft>
              <a:buClr>
                <a:prstClr val="white"/>
              </a:buClr>
              <a:buSzTx/>
              <a:buFont typeface="Arial" pitchFamily="34" charset="0"/>
              <a:buChar char="•"/>
              <a:tabLst/>
              <a:defRPr/>
            </a:pPr>
            <a:endParaRPr kumimoji="0" lang="en-US" sz="1050" b="1" i="0" u="none" strike="noStrike" kern="1200" cap="none" spc="0" normalizeH="0" baseline="0" noProof="0" dirty="0">
              <a:ln>
                <a:noFill/>
              </a:ln>
              <a:solidFill>
                <a:prstClr val="white"/>
              </a:solidFill>
              <a:effectLst/>
              <a:uLnTx/>
              <a:uFillTx/>
              <a:latin typeface="Montserrat Light"/>
              <a:ea typeface="+mn-ea"/>
              <a:cs typeface="Arial" pitchFamily="34" charset="0"/>
            </a:endParaRPr>
          </a:p>
        </p:txBody>
      </p:sp>
      <p:sp>
        <p:nvSpPr>
          <p:cNvPr id="176" name="Rectangle 175"/>
          <p:cNvSpPr>
            <a:spLocks/>
          </p:cNvSpPr>
          <p:nvPr/>
        </p:nvSpPr>
        <p:spPr>
          <a:xfrm>
            <a:off x="9545918" y="5796803"/>
            <a:ext cx="2016112" cy="10196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79" name="TextBox 178"/>
          <p:cNvSpPr txBox="1">
            <a:spLocks/>
          </p:cNvSpPr>
          <p:nvPr/>
        </p:nvSpPr>
        <p:spPr>
          <a:xfrm>
            <a:off x="9545918" y="5836160"/>
            <a:ext cx="1898281" cy="646331"/>
          </a:xfrm>
          <a:prstGeom prst="rect">
            <a:avLst/>
          </a:prstGeom>
          <a:solidFill>
            <a:schemeClr val="tx1">
              <a:lumMod val="65000"/>
              <a:lumOff val="35000"/>
            </a:schemeClr>
          </a:solidFill>
        </p:spPr>
        <p:txBody>
          <a:bodyPr wrap="square" lIns="0" tIns="0" rIns="0" bIns="0" rtlCol="0">
            <a:spAutoFit/>
          </a:bodyPr>
          <a:lstStyle/>
          <a:p>
            <a:pPr marL="144000" marR="0" lvl="0" indent="-108000" algn="l" defTabSz="914378" rtl="0" eaLnBrk="1" fontAlgn="auto" latinLnBrk="0" hangingPunct="1">
              <a:lnSpc>
                <a:spcPct val="100000"/>
              </a:lnSpc>
              <a:spcBef>
                <a:spcPts val="225"/>
              </a:spcBef>
              <a:spcAft>
                <a:spcPts val="0"/>
              </a:spcAft>
              <a:buClr>
                <a:prstClr val="white"/>
              </a:buClr>
              <a:buSzTx/>
              <a:buFont typeface="Arial" pitchFamily="34" charset="0"/>
              <a:buChar char="•"/>
              <a:tabLst/>
              <a:defRPr/>
            </a:pPr>
            <a:r>
              <a:rPr kumimoji="0" lang="en-US" sz="1050" b="1" i="0" u="sng" strike="noStrike" kern="1200" cap="none" spc="0" normalizeH="0" baseline="0" noProof="0" dirty="0" smtClean="0">
                <a:ln>
                  <a:noFill/>
                </a:ln>
                <a:solidFill>
                  <a:schemeClr val="bg1"/>
                </a:solidFill>
                <a:effectLst/>
                <a:uLnTx/>
                <a:uFillTx/>
                <a:latin typeface="Montserrat Light"/>
                <a:ea typeface="+mn-ea"/>
                <a:cs typeface="Arial" pitchFamily="34" charset="0"/>
              </a:rPr>
              <a:t>All </a:t>
            </a:r>
            <a:r>
              <a:rPr kumimoji="0" lang="en-US" sz="1050" b="1" i="0" u="none" strike="noStrike" kern="1200" cap="none" spc="0" normalizeH="0" baseline="0" noProof="0" dirty="0" smtClean="0">
                <a:ln>
                  <a:noFill/>
                </a:ln>
                <a:solidFill>
                  <a:schemeClr val="bg1"/>
                </a:solidFill>
                <a:effectLst/>
                <a:uLnTx/>
                <a:uFillTx/>
                <a:latin typeface="Montserrat Light"/>
                <a:ea typeface="+mn-ea"/>
                <a:cs typeface="Arial" pitchFamily="34" charset="0"/>
              </a:rPr>
              <a:t>projects </a:t>
            </a:r>
            <a:r>
              <a:rPr kumimoji="0" lang="en-US" sz="1050" b="1" i="0" u="none" strike="noStrike" kern="1200" cap="none" spc="0" normalizeH="0" baseline="0" noProof="0" dirty="0">
                <a:ln>
                  <a:noFill/>
                </a:ln>
                <a:solidFill>
                  <a:schemeClr val="bg1"/>
                </a:solidFill>
                <a:effectLst/>
                <a:uLnTx/>
                <a:uFillTx/>
                <a:latin typeface="Montserrat Light"/>
                <a:ea typeface="+mn-ea"/>
                <a:cs typeface="Arial" pitchFamily="34" charset="0"/>
              </a:rPr>
              <a:t>required to pass a final central gate before </a:t>
            </a:r>
            <a:r>
              <a:rPr kumimoji="0" lang="en-US" sz="1050" b="1" i="0" u="none" strike="noStrike" kern="1200" cap="none" spc="0" normalizeH="0" baseline="0" noProof="0" dirty="0" smtClean="0">
                <a:ln>
                  <a:noFill/>
                </a:ln>
                <a:solidFill>
                  <a:schemeClr val="bg1"/>
                </a:solidFill>
                <a:effectLst/>
                <a:uLnTx/>
                <a:uFillTx/>
                <a:latin typeface="Montserrat Light"/>
                <a:ea typeface="+mn-ea"/>
                <a:cs typeface="Arial" pitchFamily="34" charset="0"/>
              </a:rPr>
              <a:t>release to schools. Ongoing monitoring</a:t>
            </a:r>
            <a:endParaRPr kumimoji="0" lang="en-US" sz="1050" b="1" i="0" u="none" strike="noStrike" kern="1200" cap="none" spc="0" normalizeH="0" baseline="0" noProof="0" dirty="0">
              <a:ln>
                <a:noFill/>
              </a:ln>
              <a:solidFill>
                <a:schemeClr val="bg1"/>
              </a:solidFill>
              <a:effectLst/>
              <a:uLnTx/>
              <a:uFillTx/>
              <a:latin typeface="Montserrat Light"/>
              <a:ea typeface="+mn-ea"/>
              <a:cs typeface="Arial" pitchFamily="34" charset="0"/>
            </a:endParaRPr>
          </a:p>
        </p:txBody>
      </p:sp>
      <p:sp>
        <p:nvSpPr>
          <p:cNvPr id="110" name="TextBox 109"/>
          <p:cNvSpPr txBox="1">
            <a:spLocks/>
          </p:cNvSpPr>
          <p:nvPr/>
        </p:nvSpPr>
        <p:spPr>
          <a:xfrm>
            <a:off x="6399007" y="1374913"/>
            <a:ext cx="2892842" cy="369332"/>
          </a:xfrm>
          <a:prstGeom prst="rect">
            <a:avLst/>
          </a:prstGeom>
          <a:noFill/>
        </p:spPr>
        <p:txBody>
          <a:bodyPr wrap="square" lIns="0" tIns="0" rIns="0" bIns="0" rtlCol="0" anchor="b">
            <a:spAutoFit/>
          </a:bodyPr>
          <a:lstStyle/>
          <a:p>
            <a:pPr marL="0" marR="0" lvl="0" indent="0" defTabSz="1219170" rtl="0" eaLnBrk="1" fontAlgn="base" latinLnBrk="0" hangingPunct="1">
              <a:lnSpc>
                <a:spcPct val="100000"/>
              </a:lnSpc>
              <a:spcAft>
                <a:spcPct val="0"/>
              </a:spcAft>
              <a:buClr>
                <a:prstClr val="black"/>
              </a:buClr>
              <a:buSzTx/>
              <a:buFontTx/>
              <a:buNone/>
              <a:tabLst/>
              <a:defRPr/>
            </a:pPr>
            <a:r>
              <a:rPr lang="en-US" sz="1200" b="1" noProof="0" dirty="0" smtClean="0">
                <a:solidFill>
                  <a:prstClr val="black"/>
                </a:solidFill>
                <a:latin typeface="Montserrat Light" charset="0"/>
                <a:ea typeface="ＭＳ Ｐゴシック" charset="0"/>
                <a:cs typeface="Arial" pitchFamily="34" charset="0"/>
              </a:rPr>
              <a:t>Gate 3 – </a:t>
            </a:r>
          </a:p>
          <a:p>
            <a:pPr marL="0" marR="0" lvl="0" indent="0" defTabSz="1219170" rtl="0" eaLnBrk="1" fontAlgn="base" latinLnBrk="0" hangingPunct="1">
              <a:lnSpc>
                <a:spcPct val="100000"/>
              </a:lnSpc>
              <a:spcAft>
                <a:spcPct val="0"/>
              </a:spcAft>
              <a:buClr>
                <a:prstClr val="black"/>
              </a:buClr>
              <a:buSzTx/>
              <a:buFontTx/>
              <a:buNone/>
              <a:tabLst/>
              <a:defRPr/>
            </a:pPr>
            <a:r>
              <a:rPr lang="en-US" sz="1200" b="1" noProof="0" dirty="0" smtClean="0">
                <a:solidFill>
                  <a:prstClr val="black"/>
                </a:solidFill>
                <a:latin typeface="Montserrat Light" charset="0"/>
                <a:ea typeface="ＭＳ Ｐゴシック" charset="0"/>
                <a:cs typeface="Arial" pitchFamily="34" charset="0"/>
              </a:rPr>
              <a:t>Prototype, iterate and govern</a:t>
            </a:r>
            <a:endParaRPr kumimoji="0" lang="en-US" sz="1200" b="1" i="0" u="none" strike="noStrike" kern="1200" cap="none" spc="0" normalizeH="0" baseline="0" noProof="0" dirty="0">
              <a:ln>
                <a:noFill/>
              </a:ln>
              <a:solidFill>
                <a:prstClr val="black"/>
              </a:solidFill>
              <a:effectLst/>
              <a:uLnTx/>
              <a:uFillTx/>
              <a:latin typeface="Montserrat Light" charset="0"/>
              <a:ea typeface="ＭＳ Ｐゴシック" charset="0"/>
              <a:cs typeface="Arial" pitchFamily="34" charset="0"/>
            </a:endParaRPr>
          </a:p>
        </p:txBody>
      </p:sp>
      <p:sp>
        <p:nvSpPr>
          <p:cNvPr id="116" name="TextBox 115"/>
          <p:cNvSpPr txBox="1">
            <a:spLocks/>
          </p:cNvSpPr>
          <p:nvPr/>
        </p:nvSpPr>
        <p:spPr>
          <a:xfrm>
            <a:off x="532520" y="1375789"/>
            <a:ext cx="1750229" cy="369332"/>
          </a:xfrm>
          <a:prstGeom prst="rect">
            <a:avLst/>
          </a:prstGeom>
          <a:noFill/>
        </p:spPr>
        <p:txBody>
          <a:bodyPr wrap="square" lIns="0" tIns="0" rIns="0" bIns="0" rtlCol="0" anchor="b" anchorCtr="0">
            <a:spAutoFit/>
          </a:bodyPr>
          <a:lstStyle/>
          <a:p>
            <a:pPr lvl="0" defTabSz="1219170" fontAlgn="base">
              <a:spcBef>
                <a:spcPct val="0"/>
              </a:spcBef>
              <a:spcAft>
                <a:spcPct val="0"/>
              </a:spcAft>
              <a:buClr>
                <a:prstClr val="black"/>
              </a:buClr>
              <a:defRPr/>
            </a:pPr>
            <a:r>
              <a:rPr lang="en-US" sz="1200" b="1" dirty="0">
                <a:solidFill>
                  <a:prstClr val="black"/>
                </a:solidFill>
                <a:latin typeface="Montserrat Light" charset="0"/>
                <a:ea typeface="ＭＳ Ｐゴシック" charset="0"/>
                <a:cs typeface="Arial" pitchFamily="34" charset="0"/>
              </a:rPr>
              <a:t>Gate </a:t>
            </a:r>
            <a:r>
              <a:rPr lang="en-US" sz="1200" b="1" dirty="0" smtClean="0">
                <a:solidFill>
                  <a:prstClr val="black"/>
                </a:solidFill>
                <a:latin typeface="Montserrat Light" charset="0"/>
                <a:ea typeface="ＭＳ Ｐゴシック" charset="0"/>
                <a:cs typeface="Arial" pitchFamily="34" charset="0"/>
              </a:rPr>
              <a:t>1 – </a:t>
            </a:r>
          </a:p>
          <a:p>
            <a:pPr lvl="0" defTabSz="1219170" fontAlgn="base">
              <a:spcBef>
                <a:spcPct val="0"/>
              </a:spcBef>
              <a:spcAft>
                <a:spcPct val="0"/>
              </a:spcAft>
              <a:buClr>
                <a:prstClr val="black"/>
              </a:buClr>
              <a:defRPr/>
            </a:pPr>
            <a:r>
              <a:rPr lang="en-US" sz="1200" b="1" dirty="0" smtClean="0">
                <a:solidFill>
                  <a:prstClr val="black"/>
                </a:solidFill>
                <a:latin typeface="Montserrat Light" charset="0"/>
                <a:ea typeface="ＭＳ Ｐゴシック" charset="0"/>
                <a:cs typeface="Arial" pitchFamily="34" charset="0"/>
              </a:rPr>
              <a:t>Idea generation</a:t>
            </a:r>
            <a:endParaRPr kumimoji="0" lang="en-US" sz="1200" b="1" i="0" u="none" strike="noStrike" kern="1200" cap="none" spc="0" normalizeH="0" baseline="0" noProof="0" dirty="0">
              <a:ln>
                <a:noFill/>
              </a:ln>
              <a:solidFill>
                <a:prstClr val="black"/>
              </a:solidFill>
              <a:effectLst/>
              <a:uLnTx/>
              <a:uFillTx/>
              <a:latin typeface="Montserrat Light" charset="0"/>
              <a:ea typeface="ＭＳ Ｐゴシック" charset="0"/>
              <a:cs typeface="Arial" pitchFamily="34" charset="0"/>
            </a:endParaRPr>
          </a:p>
        </p:txBody>
      </p:sp>
      <p:cxnSp>
        <p:nvCxnSpPr>
          <p:cNvPr id="111" name="Straight Connector 110"/>
          <p:cNvCxnSpPr>
            <a:cxnSpLocks/>
          </p:cNvCxnSpPr>
          <p:nvPr/>
        </p:nvCxnSpPr>
        <p:spPr>
          <a:xfrm>
            <a:off x="6373586" y="1783259"/>
            <a:ext cx="1708347"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a:cxnSpLocks/>
          </p:cNvCxnSpPr>
          <p:nvPr/>
        </p:nvCxnSpPr>
        <p:spPr>
          <a:xfrm>
            <a:off x="8020741" y="1783259"/>
            <a:ext cx="1271108"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224" name="TextBox 223"/>
          <p:cNvSpPr txBox="1">
            <a:spLocks/>
          </p:cNvSpPr>
          <p:nvPr/>
        </p:nvSpPr>
        <p:spPr>
          <a:xfrm>
            <a:off x="9545918" y="1376665"/>
            <a:ext cx="905521" cy="369332"/>
          </a:xfrm>
          <a:prstGeom prst="rect">
            <a:avLst/>
          </a:prstGeom>
          <a:noFill/>
        </p:spPr>
        <p:txBody>
          <a:bodyPr wrap="square" lIns="0" tIns="0" rIns="0" bIns="0" rtlCol="0" anchor="b">
            <a:spAutoFit/>
          </a:bodyPr>
          <a:lstStyle/>
          <a:p>
            <a:pPr defTabSz="1219170" fontAlgn="base">
              <a:spcAft>
                <a:spcPct val="0"/>
              </a:spcAft>
              <a:buClr>
                <a:prstClr val="black"/>
              </a:buClr>
              <a:defRPr/>
            </a:pPr>
            <a:r>
              <a:rPr lang="en-US" sz="1200" b="1" dirty="0">
                <a:solidFill>
                  <a:prstClr val="black"/>
                </a:solidFill>
                <a:latin typeface="Montserrat Light" charset="0"/>
                <a:ea typeface="ＭＳ Ｐゴシック" charset="0"/>
                <a:cs typeface="Arial" pitchFamily="34" charset="0"/>
              </a:rPr>
              <a:t>Final gate – </a:t>
            </a:r>
          </a:p>
          <a:p>
            <a:pPr defTabSz="1219170" fontAlgn="base">
              <a:spcAft>
                <a:spcPct val="0"/>
              </a:spcAft>
              <a:buClr>
                <a:prstClr val="black"/>
              </a:buClr>
              <a:defRPr/>
            </a:pPr>
            <a:r>
              <a:rPr lang="en-US" sz="1200" b="1" dirty="0" smtClean="0">
                <a:solidFill>
                  <a:prstClr val="black"/>
                </a:solidFill>
                <a:latin typeface="Montserrat Light" charset="0"/>
                <a:ea typeface="ＭＳ Ｐゴシック" charset="0"/>
                <a:cs typeface="Arial" pitchFamily="34" charset="0"/>
              </a:rPr>
              <a:t>(Go/No </a:t>
            </a:r>
            <a:r>
              <a:rPr lang="en-US" sz="1200" b="1" dirty="0">
                <a:solidFill>
                  <a:prstClr val="black"/>
                </a:solidFill>
                <a:latin typeface="Montserrat Light" charset="0"/>
                <a:ea typeface="ＭＳ Ｐゴシック" charset="0"/>
                <a:cs typeface="Arial" pitchFamily="34" charset="0"/>
              </a:rPr>
              <a:t>Go)</a:t>
            </a:r>
          </a:p>
        </p:txBody>
      </p:sp>
      <p:cxnSp>
        <p:nvCxnSpPr>
          <p:cNvPr id="118" name="Straight Connector 117"/>
          <p:cNvCxnSpPr>
            <a:cxnSpLocks/>
          </p:cNvCxnSpPr>
          <p:nvPr/>
        </p:nvCxnSpPr>
        <p:spPr>
          <a:xfrm>
            <a:off x="9545918" y="1783259"/>
            <a:ext cx="905521"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a:cxnSpLocks/>
          </p:cNvCxnSpPr>
          <p:nvPr/>
        </p:nvCxnSpPr>
        <p:spPr>
          <a:xfrm>
            <a:off x="6373586" y="3273044"/>
            <a:ext cx="3443373"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92" name="Rectangle 91"/>
          <p:cNvSpPr>
            <a:spLocks/>
          </p:cNvSpPr>
          <p:nvPr/>
        </p:nvSpPr>
        <p:spPr>
          <a:xfrm>
            <a:off x="6378078" y="3305640"/>
            <a:ext cx="1647156" cy="694631"/>
          </a:xfrm>
          <a:prstGeom prst="rect">
            <a:avLst/>
          </a:pr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AU" sz="1200" b="1" i="0" u="none" strike="noStrike" kern="1200" cap="none" spc="0" normalizeH="0" baseline="0" noProof="0" dirty="0" smtClean="0">
                <a:ln>
                  <a:noFill/>
                </a:ln>
                <a:solidFill>
                  <a:prstClr val="white"/>
                </a:solidFill>
                <a:effectLst/>
                <a:uLnTx/>
                <a:uFillTx/>
                <a:latin typeface="Montserrat Light"/>
                <a:ea typeface="+mn-ea"/>
                <a:cs typeface="+mn-cs"/>
              </a:rPr>
              <a:t>Small</a:t>
            </a:r>
            <a:endParaRPr kumimoji="0" lang="en-AU" sz="1200" b="1" i="0" u="none" strike="noStrike" kern="1200" cap="none" spc="0" normalizeH="0" baseline="0" noProof="0" dirty="0">
              <a:ln>
                <a:noFill/>
              </a:ln>
              <a:solidFill>
                <a:prstClr val="white"/>
              </a:solidFill>
              <a:effectLst/>
              <a:uLnTx/>
              <a:uFillTx/>
              <a:latin typeface="Montserrat Light"/>
              <a:ea typeface="+mn-ea"/>
              <a:cs typeface="+mn-cs"/>
            </a:endParaRPr>
          </a:p>
        </p:txBody>
      </p:sp>
      <p:sp>
        <p:nvSpPr>
          <p:cNvPr id="95" name="Rectangle 94"/>
          <p:cNvSpPr>
            <a:spLocks/>
          </p:cNvSpPr>
          <p:nvPr/>
        </p:nvSpPr>
        <p:spPr>
          <a:xfrm>
            <a:off x="6373585" y="1854486"/>
            <a:ext cx="1655469" cy="1369103"/>
          </a:xfrm>
          <a:prstGeom prst="rect">
            <a:avLst/>
          </a:pr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AU" sz="1200" b="1" i="0" u="none" strike="noStrike" kern="1200" cap="none" spc="0" normalizeH="0" baseline="0" noProof="0" dirty="0" smtClean="0">
                <a:ln>
                  <a:noFill/>
                </a:ln>
                <a:solidFill>
                  <a:prstClr val="white"/>
                </a:solidFill>
                <a:effectLst/>
                <a:uLnTx/>
                <a:uFillTx/>
                <a:latin typeface="Montserrat Light"/>
                <a:ea typeface="+mn-ea"/>
                <a:cs typeface="+mn-cs"/>
              </a:rPr>
              <a:t>BIG</a:t>
            </a:r>
          </a:p>
          <a:p>
            <a:pPr marL="0" marR="0" lvl="0" indent="0" algn="ctr" defTabSz="1219140" rtl="0" eaLnBrk="1" fontAlgn="base" latinLnBrk="0" hangingPunct="1">
              <a:lnSpc>
                <a:spcPct val="100000"/>
              </a:lnSpc>
              <a:spcBef>
                <a:spcPct val="0"/>
              </a:spcBef>
              <a:spcAft>
                <a:spcPct val="0"/>
              </a:spcAft>
              <a:buClrTx/>
              <a:buSzTx/>
              <a:buFontTx/>
              <a:buNone/>
              <a:tabLst/>
              <a:defRPr/>
            </a:pPr>
            <a:endParaRPr kumimoji="0" lang="en-AU" sz="1200" b="1" i="0" u="none" strike="noStrike" kern="1200" cap="none" spc="0" normalizeH="0" baseline="0" noProof="0" dirty="0" smtClean="0">
              <a:ln>
                <a:noFill/>
              </a:ln>
              <a:solidFill>
                <a:prstClr val="white"/>
              </a:solidFill>
              <a:effectLst/>
              <a:uLnTx/>
              <a:uFillTx/>
              <a:latin typeface="Montserrat Light"/>
              <a:ea typeface="+mn-ea"/>
              <a:cs typeface="+mn-cs"/>
            </a:endParaRP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AU" sz="1200" b="1" i="0" u="none" strike="noStrike" kern="1200" cap="none" spc="0" normalizeH="0" baseline="0" noProof="0" dirty="0" smtClean="0">
                <a:ln>
                  <a:noFill/>
                </a:ln>
                <a:solidFill>
                  <a:prstClr val="white"/>
                </a:solidFill>
                <a:effectLst/>
                <a:uLnTx/>
                <a:uFillTx/>
                <a:latin typeface="Montserrat Light"/>
                <a:ea typeface="+mn-ea"/>
                <a:cs typeface="+mn-cs"/>
              </a:rPr>
              <a:t>“the jewels”</a:t>
            </a:r>
            <a:endParaRPr kumimoji="0" lang="en-AU" sz="1200" b="1" i="0" u="none" strike="noStrike" kern="1200" cap="none" spc="0" normalizeH="0" baseline="0" noProof="0" dirty="0">
              <a:ln>
                <a:noFill/>
              </a:ln>
              <a:solidFill>
                <a:prstClr val="white"/>
              </a:solidFill>
              <a:effectLst/>
              <a:uLnTx/>
              <a:uFillTx/>
              <a:latin typeface="Montserrat Light"/>
              <a:ea typeface="+mn-ea"/>
              <a:cs typeface="+mn-cs"/>
            </a:endParaRPr>
          </a:p>
        </p:txBody>
      </p:sp>
      <p:sp>
        <p:nvSpPr>
          <p:cNvPr id="96" name="Rectangle 95"/>
          <p:cNvSpPr>
            <a:spLocks/>
          </p:cNvSpPr>
          <p:nvPr/>
        </p:nvSpPr>
        <p:spPr>
          <a:xfrm>
            <a:off x="6378078" y="4054775"/>
            <a:ext cx="1647156" cy="752139"/>
          </a:xfrm>
          <a:prstGeom prst="rect">
            <a:avLst/>
          </a:pr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AU" sz="1200" b="1" i="0" u="none" strike="noStrike" kern="1200" cap="none" spc="0" normalizeH="0" baseline="0" noProof="0" dirty="0" smtClean="0">
                <a:ln>
                  <a:noFill/>
                </a:ln>
                <a:solidFill>
                  <a:prstClr val="white"/>
                </a:solidFill>
                <a:effectLst/>
                <a:uLnTx/>
                <a:uFillTx/>
                <a:latin typeface="Montserrat Light"/>
                <a:ea typeface="+mn-ea"/>
                <a:cs typeface="+mn-cs"/>
              </a:rPr>
              <a:t>Small</a:t>
            </a:r>
            <a:endParaRPr kumimoji="0" lang="en-AU" sz="1200" b="1" i="0" u="none" strike="noStrike" kern="1200" cap="none" spc="0" normalizeH="0" baseline="0" noProof="0" dirty="0">
              <a:ln>
                <a:noFill/>
              </a:ln>
              <a:solidFill>
                <a:prstClr val="white"/>
              </a:solidFill>
              <a:effectLst/>
              <a:uLnTx/>
              <a:uFillTx/>
              <a:latin typeface="Montserrat Light"/>
              <a:ea typeface="+mn-ea"/>
              <a:cs typeface="+mn-cs"/>
            </a:endParaRPr>
          </a:p>
        </p:txBody>
      </p:sp>
      <p:sp>
        <p:nvSpPr>
          <p:cNvPr id="213" name="Rectangle 212"/>
          <p:cNvSpPr>
            <a:spLocks/>
          </p:cNvSpPr>
          <p:nvPr/>
        </p:nvSpPr>
        <p:spPr>
          <a:xfrm>
            <a:off x="8020741" y="4054775"/>
            <a:ext cx="1271108" cy="752139"/>
          </a:xfrm>
          <a:prstGeom prst="rect">
            <a:avLst/>
          </a:prstGeom>
          <a:solidFill>
            <a:schemeClr val="accent5">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AU" sz="1200" b="1" i="0" u="none" strike="noStrike" kern="1200" cap="none" spc="0" normalizeH="0" baseline="0" noProof="0" dirty="0">
                <a:ln>
                  <a:noFill/>
                </a:ln>
                <a:solidFill>
                  <a:prstClr val="white"/>
                </a:solidFill>
                <a:effectLst/>
                <a:uLnTx/>
                <a:uFillTx/>
                <a:latin typeface="Montserrat Light"/>
                <a:ea typeface="+mn-ea"/>
                <a:cs typeface="+mn-cs"/>
              </a:rPr>
              <a:t>Local</a:t>
            </a:r>
          </a:p>
        </p:txBody>
      </p:sp>
      <p:sp>
        <p:nvSpPr>
          <p:cNvPr id="212" name="Rectangle 211"/>
          <p:cNvSpPr>
            <a:spLocks/>
          </p:cNvSpPr>
          <p:nvPr/>
        </p:nvSpPr>
        <p:spPr>
          <a:xfrm>
            <a:off x="8020741" y="3305640"/>
            <a:ext cx="1271108" cy="694631"/>
          </a:xfrm>
          <a:prstGeom prst="rect">
            <a:avLst/>
          </a:prstGeom>
          <a:solidFill>
            <a:schemeClr val="accent5">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AU" sz="1200" b="1" i="0" u="none" strike="noStrike" kern="1200" cap="none" spc="0" normalizeH="0" baseline="0" noProof="0" dirty="0">
                <a:ln>
                  <a:noFill/>
                </a:ln>
                <a:solidFill>
                  <a:prstClr val="white"/>
                </a:solidFill>
                <a:effectLst/>
                <a:uLnTx/>
                <a:uFillTx/>
                <a:latin typeface="Montserrat Light"/>
                <a:ea typeface="+mn-ea"/>
                <a:cs typeface="+mn-cs"/>
              </a:rPr>
              <a:t>Local</a:t>
            </a:r>
          </a:p>
        </p:txBody>
      </p:sp>
      <p:sp>
        <p:nvSpPr>
          <p:cNvPr id="214" name="Rectangle 213"/>
          <p:cNvSpPr>
            <a:spLocks/>
          </p:cNvSpPr>
          <p:nvPr/>
        </p:nvSpPr>
        <p:spPr>
          <a:xfrm>
            <a:off x="8020741" y="4883385"/>
            <a:ext cx="1271108" cy="830202"/>
          </a:xfrm>
          <a:prstGeom prst="rect">
            <a:avLst/>
          </a:prstGeom>
          <a:solidFill>
            <a:schemeClr val="accent5">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AU" sz="1200" b="1" i="0" u="none" strike="noStrike" kern="1200" cap="none" spc="0" normalizeH="0" baseline="0" noProof="0" dirty="0">
                <a:ln>
                  <a:noFill/>
                </a:ln>
                <a:solidFill>
                  <a:prstClr val="white"/>
                </a:solidFill>
                <a:effectLst/>
                <a:uLnTx/>
                <a:uFillTx/>
                <a:latin typeface="Montserrat Light"/>
                <a:ea typeface="+mn-ea"/>
                <a:cs typeface="+mn-cs"/>
              </a:rPr>
              <a:t>Local</a:t>
            </a:r>
          </a:p>
        </p:txBody>
      </p:sp>
      <p:sp>
        <p:nvSpPr>
          <p:cNvPr id="86" name="Rectangle 85"/>
          <p:cNvSpPr>
            <a:spLocks/>
          </p:cNvSpPr>
          <p:nvPr/>
        </p:nvSpPr>
        <p:spPr>
          <a:xfrm>
            <a:off x="8020741" y="1854486"/>
            <a:ext cx="1271108" cy="1364055"/>
          </a:xfrm>
          <a:prstGeom prst="rect">
            <a:avLst/>
          </a:prstGeom>
          <a:solidFill>
            <a:schemeClr val="accent5">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AU" sz="1200" b="1" i="0" u="none" strike="noStrike" kern="1200" cap="none" spc="0" normalizeH="0" baseline="0" noProof="0" dirty="0" smtClean="0">
                <a:ln>
                  <a:noFill/>
                </a:ln>
                <a:solidFill>
                  <a:prstClr val="white"/>
                </a:solidFill>
                <a:effectLst/>
                <a:uLnTx/>
                <a:uFillTx/>
                <a:latin typeface="Montserrat Light"/>
                <a:ea typeface="+mn-ea"/>
                <a:cs typeface="+mn-cs"/>
              </a:rPr>
              <a:t>Central</a:t>
            </a:r>
            <a:endParaRPr kumimoji="0" lang="en-AU" sz="1200" b="1" i="0" u="none" strike="noStrike" kern="1200" cap="none" spc="0" normalizeH="0" baseline="0" noProof="0" dirty="0">
              <a:ln>
                <a:noFill/>
              </a:ln>
              <a:solidFill>
                <a:prstClr val="white"/>
              </a:solidFill>
              <a:effectLst/>
              <a:uLnTx/>
              <a:uFillTx/>
              <a:latin typeface="Montserrat Light"/>
              <a:ea typeface="+mn-ea"/>
              <a:cs typeface="+mn-cs"/>
            </a:endParaRPr>
          </a:p>
        </p:txBody>
      </p:sp>
      <p:grpSp>
        <p:nvGrpSpPr>
          <p:cNvPr id="27" name="Group 26"/>
          <p:cNvGrpSpPr/>
          <p:nvPr/>
        </p:nvGrpSpPr>
        <p:grpSpPr>
          <a:xfrm>
            <a:off x="9291850" y="2536514"/>
            <a:ext cx="254068" cy="2822557"/>
            <a:chOff x="9291849" y="2536514"/>
            <a:chExt cx="361095" cy="2822557"/>
          </a:xfrm>
        </p:grpSpPr>
        <p:cxnSp>
          <p:nvCxnSpPr>
            <p:cNvPr id="241" name="Straight Connector 240"/>
            <p:cNvCxnSpPr>
              <a:cxnSpLocks/>
            </p:cNvCxnSpPr>
            <p:nvPr/>
          </p:nvCxnSpPr>
          <p:spPr>
            <a:xfrm flipV="1">
              <a:off x="9291849" y="3643047"/>
              <a:ext cx="361095" cy="1"/>
            </a:xfrm>
            <a:prstGeom prst="line">
              <a:avLst/>
            </a:prstGeom>
            <a:ln w="28575">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4" name="Straight Connector 243"/>
            <p:cNvCxnSpPr>
              <a:cxnSpLocks/>
            </p:cNvCxnSpPr>
            <p:nvPr/>
          </p:nvCxnSpPr>
          <p:spPr>
            <a:xfrm flipV="1">
              <a:off x="9291849" y="4505176"/>
              <a:ext cx="361095" cy="2"/>
            </a:xfrm>
            <a:prstGeom prst="line">
              <a:avLst/>
            </a:prstGeom>
            <a:ln w="28575">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5" name="Straight Connector 244"/>
            <p:cNvCxnSpPr>
              <a:cxnSpLocks/>
            </p:cNvCxnSpPr>
            <p:nvPr/>
          </p:nvCxnSpPr>
          <p:spPr>
            <a:xfrm flipV="1">
              <a:off x="9291849" y="5359069"/>
              <a:ext cx="361095" cy="2"/>
            </a:xfrm>
            <a:prstGeom prst="line">
              <a:avLst/>
            </a:prstGeom>
            <a:ln w="28575">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flipV="1">
              <a:off x="9291849" y="2536514"/>
              <a:ext cx="361095" cy="2"/>
            </a:xfrm>
            <a:prstGeom prst="line">
              <a:avLst/>
            </a:prstGeom>
            <a:ln w="28575">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22" name="Group 21"/>
          <p:cNvGrpSpPr>
            <a:grpSpLocks/>
          </p:cNvGrpSpPr>
          <p:nvPr/>
        </p:nvGrpSpPr>
        <p:grpSpPr>
          <a:xfrm>
            <a:off x="10451439" y="2536513"/>
            <a:ext cx="254068" cy="2822557"/>
            <a:chOff x="10928544" y="2536513"/>
            <a:chExt cx="361095" cy="2822557"/>
          </a:xfrm>
        </p:grpSpPr>
        <p:cxnSp>
          <p:nvCxnSpPr>
            <p:cNvPr id="246" name="Straight Connector 245"/>
            <p:cNvCxnSpPr>
              <a:cxnSpLocks/>
            </p:cNvCxnSpPr>
            <p:nvPr/>
          </p:nvCxnSpPr>
          <p:spPr>
            <a:xfrm flipV="1">
              <a:off x="10928544" y="3643045"/>
              <a:ext cx="361095" cy="1"/>
            </a:xfrm>
            <a:prstGeom prst="line">
              <a:avLst/>
            </a:prstGeom>
            <a:ln w="28575">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7" name="Straight Connector 246"/>
            <p:cNvCxnSpPr>
              <a:cxnSpLocks/>
            </p:cNvCxnSpPr>
            <p:nvPr/>
          </p:nvCxnSpPr>
          <p:spPr>
            <a:xfrm flipV="1">
              <a:off x="10928544" y="5359069"/>
              <a:ext cx="361095" cy="1"/>
            </a:xfrm>
            <a:prstGeom prst="line">
              <a:avLst/>
            </a:prstGeom>
            <a:ln w="28575">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a:cxnSpLocks/>
            </p:cNvCxnSpPr>
            <p:nvPr/>
          </p:nvCxnSpPr>
          <p:spPr>
            <a:xfrm flipV="1">
              <a:off x="10928544" y="2536513"/>
              <a:ext cx="361095" cy="1"/>
            </a:xfrm>
            <a:prstGeom prst="line">
              <a:avLst/>
            </a:prstGeom>
            <a:ln w="28575">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159" name="Rectangle 158"/>
          <p:cNvSpPr>
            <a:spLocks/>
          </p:cNvSpPr>
          <p:nvPr/>
        </p:nvSpPr>
        <p:spPr>
          <a:xfrm>
            <a:off x="6378078" y="4883385"/>
            <a:ext cx="1650976" cy="830202"/>
          </a:xfrm>
          <a:prstGeom prst="rect">
            <a:avLst/>
          </a:pr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AU" sz="1200" b="1" i="0" u="none" strike="noStrike" kern="1200" cap="none" spc="0" normalizeH="0" baseline="0" noProof="0" dirty="0" smtClean="0">
                <a:ln>
                  <a:noFill/>
                </a:ln>
                <a:solidFill>
                  <a:prstClr val="white"/>
                </a:solidFill>
                <a:effectLst/>
                <a:uLnTx/>
                <a:uFillTx/>
                <a:latin typeface="Montserrat Light"/>
                <a:ea typeface="+mn-ea"/>
                <a:cs typeface="+mn-cs"/>
              </a:rPr>
              <a:t>Small</a:t>
            </a:r>
            <a:endParaRPr kumimoji="0" lang="en-AU" sz="1200" b="1" i="0" u="none" strike="noStrike" kern="1200" cap="none" spc="0" normalizeH="0" baseline="0" noProof="0" dirty="0">
              <a:ln>
                <a:noFill/>
              </a:ln>
              <a:solidFill>
                <a:prstClr val="white"/>
              </a:solidFill>
              <a:effectLst/>
              <a:uLnTx/>
              <a:uFillTx/>
              <a:latin typeface="Montserrat Light"/>
              <a:ea typeface="+mn-ea"/>
              <a:cs typeface="+mn-cs"/>
            </a:endParaRPr>
          </a:p>
        </p:txBody>
      </p:sp>
      <p:sp>
        <p:nvSpPr>
          <p:cNvPr id="199" name="TextBox 198"/>
          <p:cNvSpPr txBox="1">
            <a:spLocks/>
          </p:cNvSpPr>
          <p:nvPr/>
        </p:nvSpPr>
        <p:spPr>
          <a:xfrm>
            <a:off x="8070882" y="3818194"/>
            <a:ext cx="1170192" cy="153888"/>
          </a:xfrm>
          <a:prstGeom prst="rect">
            <a:avLst/>
          </a:prstGeom>
          <a:noFill/>
        </p:spPr>
        <p:txBody>
          <a:bodyPr wrap="none" lIns="0" tIns="0" rIns="0" bIns="0" rtlCol="0">
            <a:spAutoFit/>
          </a:bodyPr>
          <a:lstStyle/>
          <a:p>
            <a:pPr lvl="0" defTabSz="1219170" fontAlgn="base">
              <a:spcBef>
                <a:spcPts val="600"/>
              </a:spcBef>
              <a:spcAft>
                <a:spcPct val="0"/>
              </a:spcAft>
              <a:buClr>
                <a:prstClr val="black"/>
              </a:buClr>
              <a:defRPr/>
            </a:pPr>
            <a:r>
              <a:rPr lang="en-US" sz="1000" dirty="0">
                <a:solidFill>
                  <a:prstClr val="white"/>
                </a:solidFill>
                <a:latin typeface="Montserrat Light" charset="0"/>
                <a:ea typeface="ＭＳ Ｐゴシック" charset="0"/>
                <a:cs typeface="Arial" pitchFamily="34" charset="0"/>
              </a:rPr>
              <a:t>Capped</a:t>
            </a:r>
            <a:r>
              <a:rPr kumimoji="0" lang="en-US" sz="1000" b="0" i="0" u="none" strike="noStrike" kern="1200" cap="none" spc="0" normalizeH="0" baseline="0" noProof="0" dirty="0" smtClean="0">
                <a:ln>
                  <a:noFill/>
                </a:ln>
                <a:solidFill>
                  <a:prstClr val="white"/>
                </a:solidFill>
                <a:effectLst/>
                <a:uLnTx/>
                <a:uFillTx/>
                <a:latin typeface="Montserrat Light" charset="0"/>
                <a:ea typeface="ＭＳ Ｐゴシック" charset="0"/>
                <a:cs typeface="Arial" pitchFamily="34" charset="0"/>
              </a:rPr>
              <a:t> </a:t>
            </a:r>
            <a:r>
              <a:rPr lang="en-US" sz="1000" dirty="0" smtClean="0">
                <a:solidFill>
                  <a:prstClr val="white"/>
                </a:solidFill>
                <a:latin typeface="Montserrat Light" charset="0"/>
                <a:ea typeface="ＭＳ Ｐゴシック" charset="0"/>
                <a:cs typeface="Arial" pitchFamily="34" charset="0"/>
              </a:rPr>
              <a:t>t</a:t>
            </a:r>
            <a:r>
              <a:rPr kumimoji="0" lang="en-US" sz="1000" b="0" i="0" u="none" strike="noStrike" kern="1200" cap="none" spc="0" normalizeH="0" baseline="0" noProof="0" dirty="0" err="1" smtClean="0">
                <a:ln>
                  <a:noFill/>
                </a:ln>
                <a:solidFill>
                  <a:prstClr val="white"/>
                </a:solidFill>
                <a:effectLst/>
                <a:uLnTx/>
                <a:uFillTx/>
                <a:latin typeface="Montserrat Light" charset="0"/>
                <a:ea typeface="ＭＳ Ｐゴシック" charset="0"/>
                <a:cs typeface="Arial" pitchFamily="34" charset="0"/>
              </a:rPr>
              <a:t>ime</a:t>
            </a:r>
            <a:r>
              <a:rPr kumimoji="0" lang="en-US" sz="1000" b="0" i="0" u="none" strike="noStrike" kern="1200" cap="none" spc="0" normalizeH="0" baseline="0" noProof="0" dirty="0" smtClean="0">
                <a:ln>
                  <a:noFill/>
                </a:ln>
                <a:solidFill>
                  <a:prstClr val="white"/>
                </a:solidFill>
                <a:effectLst/>
                <a:uLnTx/>
                <a:uFillTx/>
                <a:latin typeface="Montserrat Light" charset="0"/>
                <a:ea typeface="ＭＳ Ｐゴシック" charset="0"/>
                <a:cs typeface="Arial" pitchFamily="34" charset="0"/>
              </a:rPr>
              <a:t> impact</a:t>
            </a:r>
            <a:endParaRPr kumimoji="0" lang="en-US" sz="1000" b="0" i="0" u="none" strike="noStrike" kern="1200" cap="none" spc="0" normalizeH="0" baseline="0" noProof="0" dirty="0">
              <a:ln>
                <a:noFill/>
              </a:ln>
              <a:solidFill>
                <a:prstClr val="white"/>
              </a:solidFill>
              <a:effectLst/>
              <a:uLnTx/>
              <a:uFillTx/>
              <a:latin typeface="Montserrat Light" charset="0"/>
              <a:ea typeface="ＭＳ Ｐゴシック" charset="0"/>
              <a:cs typeface="Arial" pitchFamily="34" charset="0"/>
            </a:endParaRPr>
          </a:p>
        </p:txBody>
      </p:sp>
      <p:sp>
        <p:nvSpPr>
          <p:cNvPr id="201" name="TextBox 200"/>
          <p:cNvSpPr txBox="1">
            <a:spLocks/>
          </p:cNvSpPr>
          <p:nvPr/>
        </p:nvSpPr>
        <p:spPr>
          <a:xfrm>
            <a:off x="8125307" y="4585782"/>
            <a:ext cx="1134926" cy="153888"/>
          </a:xfrm>
          <a:prstGeom prst="rect">
            <a:avLst/>
          </a:prstGeom>
          <a:noFill/>
        </p:spPr>
        <p:txBody>
          <a:bodyPr wrap="none" lIns="0" tIns="0" rIns="0" bIns="0" rtlCol="0">
            <a:spAutoFit/>
          </a:bodyPr>
          <a:lstStyle/>
          <a:p>
            <a:pPr marL="0" marR="0" lvl="0" indent="0" algn="l" defTabSz="1219170" rtl="0" eaLnBrk="1" fontAlgn="base" latinLnBrk="0" hangingPunct="1">
              <a:lnSpc>
                <a:spcPct val="100000"/>
              </a:lnSpc>
              <a:spcBef>
                <a:spcPts val="600"/>
              </a:spcBef>
              <a:spcAft>
                <a:spcPct val="0"/>
              </a:spcAft>
              <a:buClr>
                <a:prstClr val="black"/>
              </a:buClr>
              <a:buSzTx/>
              <a:buFontTx/>
              <a:buNone/>
              <a:tabLst/>
              <a:defRPr/>
            </a:pPr>
            <a:r>
              <a:rPr kumimoji="0" lang="en-US" sz="1000" b="0" i="0" u="none" strike="noStrike" kern="1200" cap="none" spc="0" normalizeH="0" baseline="0" noProof="0" dirty="0" smtClean="0">
                <a:ln>
                  <a:noFill/>
                </a:ln>
                <a:solidFill>
                  <a:prstClr val="white"/>
                </a:solidFill>
                <a:effectLst/>
                <a:uLnTx/>
                <a:uFillTx/>
                <a:latin typeface="Montserrat Light" charset="0"/>
                <a:ea typeface="ＭＳ Ｐゴシック" charset="0"/>
                <a:cs typeface="Arial" pitchFamily="34" charset="0"/>
              </a:rPr>
              <a:t>Capped time impact</a:t>
            </a:r>
            <a:endParaRPr kumimoji="0" lang="en-US" sz="1000" b="0" i="0" u="none" strike="noStrike" kern="1200" cap="none" spc="0" normalizeH="0" baseline="0" noProof="0" dirty="0">
              <a:ln>
                <a:noFill/>
              </a:ln>
              <a:solidFill>
                <a:prstClr val="white"/>
              </a:solidFill>
              <a:effectLst/>
              <a:uLnTx/>
              <a:uFillTx/>
              <a:latin typeface="Montserrat Light" charset="0"/>
              <a:ea typeface="ＭＳ Ｐゴシック" charset="0"/>
              <a:cs typeface="Arial" pitchFamily="34" charset="0"/>
            </a:endParaRPr>
          </a:p>
        </p:txBody>
      </p:sp>
      <p:sp>
        <p:nvSpPr>
          <p:cNvPr id="204" name="TextBox 203"/>
          <p:cNvSpPr txBox="1">
            <a:spLocks/>
          </p:cNvSpPr>
          <p:nvPr/>
        </p:nvSpPr>
        <p:spPr>
          <a:xfrm>
            <a:off x="8125307" y="5471567"/>
            <a:ext cx="1134926" cy="153888"/>
          </a:xfrm>
          <a:prstGeom prst="rect">
            <a:avLst/>
          </a:prstGeom>
          <a:noFill/>
        </p:spPr>
        <p:txBody>
          <a:bodyPr wrap="none" lIns="0" tIns="0" rIns="0" bIns="0" rtlCol="0">
            <a:spAutoFit/>
          </a:bodyPr>
          <a:lstStyle/>
          <a:p>
            <a:pPr marL="0" marR="0" lvl="0" indent="0" algn="l" defTabSz="1219170" rtl="0" eaLnBrk="1" fontAlgn="base" latinLnBrk="0" hangingPunct="1">
              <a:lnSpc>
                <a:spcPct val="100000"/>
              </a:lnSpc>
              <a:spcBef>
                <a:spcPts val="600"/>
              </a:spcBef>
              <a:spcAft>
                <a:spcPct val="0"/>
              </a:spcAft>
              <a:buClr>
                <a:prstClr val="black"/>
              </a:buClr>
              <a:buSzTx/>
              <a:buFontTx/>
              <a:buNone/>
              <a:tabLst/>
              <a:defRPr/>
            </a:pPr>
            <a:r>
              <a:rPr kumimoji="0" lang="en-US" sz="1000" b="0" i="0" u="none" strike="noStrike" kern="1200" cap="none" spc="0" normalizeH="0" baseline="0" noProof="0" dirty="0" smtClean="0">
                <a:ln>
                  <a:noFill/>
                </a:ln>
                <a:solidFill>
                  <a:prstClr val="white"/>
                </a:solidFill>
                <a:effectLst/>
                <a:uLnTx/>
                <a:uFillTx/>
                <a:latin typeface="Montserrat Light" charset="0"/>
                <a:ea typeface="ＭＳ Ｐゴシック" charset="0"/>
                <a:cs typeface="Arial" pitchFamily="34" charset="0"/>
              </a:rPr>
              <a:t>Capped time impact</a:t>
            </a:r>
            <a:endParaRPr kumimoji="0" lang="en-US" sz="1000" b="0" i="0" u="none" strike="noStrike" kern="1200" cap="none" spc="0" normalizeH="0" baseline="0" noProof="0" dirty="0">
              <a:ln>
                <a:noFill/>
              </a:ln>
              <a:solidFill>
                <a:prstClr val="white"/>
              </a:solidFill>
              <a:effectLst/>
              <a:uLnTx/>
              <a:uFillTx/>
              <a:latin typeface="Montserrat Light" charset="0"/>
              <a:ea typeface="ＭＳ Ｐゴシック" charset="0"/>
              <a:cs typeface="Arial" pitchFamily="34" charset="0"/>
            </a:endParaRPr>
          </a:p>
        </p:txBody>
      </p:sp>
      <p:sp>
        <p:nvSpPr>
          <p:cNvPr id="216" name="TextBox 215"/>
          <p:cNvSpPr txBox="1">
            <a:spLocks/>
          </p:cNvSpPr>
          <p:nvPr/>
        </p:nvSpPr>
        <p:spPr>
          <a:xfrm>
            <a:off x="8108978" y="2994522"/>
            <a:ext cx="1134926" cy="153888"/>
          </a:xfrm>
          <a:prstGeom prst="rect">
            <a:avLst/>
          </a:prstGeom>
          <a:noFill/>
        </p:spPr>
        <p:txBody>
          <a:bodyPr wrap="none" lIns="0" tIns="0" rIns="0" bIns="0" rtlCol="0">
            <a:spAutoFit/>
          </a:bodyPr>
          <a:lstStyle/>
          <a:p>
            <a:pPr marL="0" marR="0" lvl="0" indent="0" algn="l" defTabSz="1219170" rtl="0" eaLnBrk="1" fontAlgn="base" latinLnBrk="0" hangingPunct="1">
              <a:lnSpc>
                <a:spcPct val="100000"/>
              </a:lnSpc>
              <a:spcBef>
                <a:spcPts val="600"/>
              </a:spcBef>
              <a:spcAft>
                <a:spcPct val="0"/>
              </a:spcAft>
              <a:buClr>
                <a:prstClr val="black"/>
              </a:buClr>
              <a:buSzTx/>
              <a:buFontTx/>
              <a:buNone/>
              <a:tabLst/>
              <a:defRPr/>
            </a:pPr>
            <a:r>
              <a:rPr lang="en-US" sz="1000" dirty="0" smtClean="0">
                <a:solidFill>
                  <a:prstClr val="white"/>
                </a:solidFill>
                <a:latin typeface="Montserrat Light" charset="0"/>
                <a:ea typeface="ＭＳ Ｐゴシック" charset="0"/>
                <a:cs typeface="Arial" pitchFamily="34" charset="0"/>
              </a:rPr>
              <a:t>Capped </a:t>
            </a:r>
            <a:r>
              <a:rPr kumimoji="0" lang="en-US" sz="1000" b="0" i="0" u="none" strike="noStrike" kern="1200" cap="none" spc="0" normalizeH="0" baseline="0" noProof="0" dirty="0" smtClean="0">
                <a:ln>
                  <a:noFill/>
                </a:ln>
                <a:solidFill>
                  <a:prstClr val="white"/>
                </a:solidFill>
                <a:effectLst/>
                <a:uLnTx/>
                <a:uFillTx/>
                <a:latin typeface="Montserrat Light" charset="0"/>
                <a:ea typeface="ＭＳ Ｐゴシック" charset="0"/>
                <a:cs typeface="Arial" pitchFamily="34" charset="0"/>
              </a:rPr>
              <a:t>time impact</a:t>
            </a:r>
            <a:endParaRPr kumimoji="0" lang="en-US" sz="1000" b="0" i="0" u="none" strike="noStrike" kern="1200" cap="none" spc="0" normalizeH="0" baseline="0" noProof="0" dirty="0">
              <a:ln>
                <a:noFill/>
              </a:ln>
              <a:solidFill>
                <a:prstClr val="white"/>
              </a:solidFill>
              <a:effectLst/>
              <a:uLnTx/>
              <a:uFillTx/>
              <a:latin typeface="Montserrat Light" charset="0"/>
              <a:ea typeface="ＭＳ Ｐゴシック" charset="0"/>
              <a:cs typeface="Arial" pitchFamily="34" charset="0"/>
            </a:endParaRPr>
          </a:p>
        </p:txBody>
      </p:sp>
      <p:cxnSp>
        <p:nvCxnSpPr>
          <p:cNvPr id="154" name="Elbow Connector 153"/>
          <p:cNvCxnSpPr>
            <a:stCxn id="120" idx="3"/>
            <a:endCxn id="158" idx="1"/>
          </p:cNvCxnSpPr>
          <p:nvPr/>
        </p:nvCxnSpPr>
        <p:spPr>
          <a:xfrm>
            <a:off x="2287888" y="2113905"/>
            <a:ext cx="245701" cy="1753350"/>
          </a:xfrm>
          <a:prstGeom prst="bentConnector3">
            <a:avLst>
              <a:gd name="adj1" fmla="val 50000"/>
            </a:avLst>
          </a:prstGeom>
          <a:ln w="28575">
            <a:solidFill>
              <a:srgbClr val="425968"/>
            </a:solidFill>
            <a:tailEnd type="triangle"/>
          </a:ln>
        </p:spPr>
        <p:style>
          <a:lnRef idx="1">
            <a:schemeClr val="accent1"/>
          </a:lnRef>
          <a:fillRef idx="0">
            <a:schemeClr val="accent1"/>
          </a:fillRef>
          <a:effectRef idx="0">
            <a:schemeClr val="accent1"/>
          </a:effectRef>
          <a:fontRef idx="minor">
            <a:schemeClr val="tx1"/>
          </a:fontRef>
        </p:style>
      </p:cxnSp>
      <p:cxnSp>
        <p:nvCxnSpPr>
          <p:cNvPr id="155" name="Elbow Connector 154"/>
          <p:cNvCxnSpPr>
            <a:stCxn id="103" idx="3"/>
            <a:endCxn id="158" idx="1"/>
          </p:cNvCxnSpPr>
          <p:nvPr/>
        </p:nvCxnSpPr>
        <p:spPr>
          <a:xfrm>
            <a:off x="2287888" y="2781957"/>
            <a:ext cx="245701" cy="1085298"/>
          </a:xfrm>
          <a:prstGeom prst="bentConnector3">
            <a:avLst>
              <a:gd name="adj1" fmla="val 50000"/>
            </a:avLst>
          </a:prstGeom>
          <a:ln w="28575">
            <a:solidFill>
              <a:srgbClr val="425968"/>
            </a:solidFill>
            <a:tailEnd type="triangle"/>
          </a:ln>
        </p:spPr>
        <p:style>
          <a:lnRef idx="1">
            <a:schemeClr val="accent1"/>
          </a:lnRef>
          <a:fillRef idx="0">
            <a:schemeClr val="accent1"/>
          </a:fillRef>
          <a:effectRef idx="0">
            <a:schemeClr val="accent1"/>
          </a:effectRef>
          <a:fontRef idx="minor">
            <a:schemeClr val="tx1"/>
          </a:fontRef>
        </p:style>
      </p:cxnSp>
      <p:cxnSp>
        <p:nvCxnSpPr>
          <p:cNvPr id="156" name="Elbow Connector 155"/>
          <p:cNvCxnSpPr>
            <a:stCxn id="106" idx="3"/>
            <a:endCxn id="158" idx="1"/>
          </p:cNvCxnSpPr>
          <p:nvPr/>
        </p:nvCxnSpPr>
        <p:spPr>
          <a:xfrm>
            <a:off x="2287888" y="3450009"/>
            <a:ext cx="245701" cy="417246"/>
          </a:xfrm>
          <a:prstGeom prst="bentConnector3">
            <a:avLst>
              <a:gd name="adj1" fmla="val 50000"/>
            </a:avLst>
          </a:prstGeom>
          <a:ln w="28575">
            <a:solidFill>
              <a:srgbClr val="425968"/>
            </a:solidFill>
            <a:tailEnd type="triangle"/>
          </a:ln>
        </p:spPr>
        <p:style>
          <a:lnRef idx="1">
            <a:schemeClr val="accent1"/>
          </a:lnRef>
          <a:fillRef idx="0">
            <a:schemeClr val="accent1"/>
          </a:fillRef>
          <a:effectRef idx="0">
            <a:schemeClr val="accent1"/>
          </a:effectRef>
          <a:fontRef idx="minor">
            <a:schemeClr val="tx1"/>
          </a:fontRef>
        </p:style>
      </p:cxnSp>
      <p:cxnSp>
        <p:nvCxnSpPr>
          <p:cNvPr id="157" name="Elbow Connector 156"/>
          <p:cNvCxnSpPr>
            <a:stCxn id="112" idx="3"/>
            <a:endCxn id="158" idx="1"/>
          </p:cNvCxnSpPr>
          <p:nvPr/>
        </p:nvCxnSpPr>
        <p:spPr>
          <a:xfrm flipV="1">
            <a:off x="2287888" y="3867255"/>
            <a:ext cx="245701" cy="250806"/>
          </a:xfrm>
          <a:prstGeom prst="bentConnector3">
            <a:avLst>
              <a:gd name="adj1" fmla="val 50000"/>
            </a:avLst>
          </a:prstGeom>
          <a:ln w="28575">
            <a:solidFill>
              <a:srgbClr val="425968"/>
            </a:solidFill>
            <a:tailEnd type="triangle"/>
          </a:ln>
        </p:spPr>
        <p:style>
          <a:lnRef idx="1">
            <a:schemeClr val="accent1"/>
          </a:lnRef>
          <a:fillRef idx="0">
            <a:schemeClr val="accent1"/>
          </a:fillRef>
          <a:effectRef idx="0">
            <a:schemeClr val="accent1"/>
          </a:effectRef>
          <a:fontRef idx="minor">
            <a:schemeClr val="tx1"/>
          </a:fontRef>
        </p:style>
      </p:cxnSp>
      <p:cxnSp>
        <p:nvCxnSpPr>
          <p:cNvPr id="161" name="Elbow Connector 160"/>
          <p:cNvCxnSpPr>
            <a:stCxn id="121" idx="3"/>
            <a:endCxn id="158" idx="1"/>
          </p:cNvCxnSpPr>
          <p:nvPr/>
        </p:nvCxnSpPr>
        <p:spPr>
          <a:xfrm flipV="1">
            <a:off x="2287888" y="3867255"/>
            <a:ext cx="245701" cy="918858"/>
          </a:xfrm>
          <a:prstGeom prst="bentConnector3">
            <a:avLst>
              <a:gd name="adj1" fmla="val 50000"/>
            </a:avLst>
          </a:prstGeom>
          <a:ln w="28575">
            <a:solidFill>
              <a:srgbClr val="425968"/>
            </a:solidFill>
            <a:tailEnd type="triangle"/>
          </a:ln>
        </p:spPr>
        <p:style>
          <a:lnRef idx="1">
            <a:schemeClr val="accent1"/>
          </a:lnRef>
          <a:fillRef idx="0">
            <a:schemeClr val="accent1"/>
          </a:fillRef>
          <a:effectRef idx="0">
            <a:schemeClr val="accent1"/>
          </a:effectRef>
          <a:fontRef idx="minor">
            <a:schemeClr val="tx1"/>
          </a:fontRef>
        </p:style>
      </p:cxnSp>
      <p:cxnSp>
        <p:nvCxnSpPr>
          <p:cNvPr id="174" name="Elbow Connector 173"/>
          <p:cNvCxnSpPr>
            <a:stCxn id="127" idx="3"/>
            <a:endCxn id="92" idx="1"/>
          </p:cNvCxnSpPr>
          <p:nvPr/>
        </p:nvCxnSpPr>
        <p:spPr>
          <a:xfrm flipV="1">
            <a:off x="6153584" y="3652956"/>
            <a:ext cx="224494" cy="131080"/>
          </a:xfrm>
          <a:prstGeom prst="bentConnector3">
            <a:avLst>
              <a:gd name="adj1" fmla="val 50000"/>
            </a:avLst>
          </a:prstGeom>
          <a:ln w="28575">
            <a:solidFill>
              <a:srgbClr val="425968"/>
            </a:solidFill>
            <a:tailEnd type="triangle"/>
          </a:ln>
        </p:spPr>
        <p:style>
          <a:lnRef idx="1">
            <a:schemeClr val="accent1"/>
          </a:lnRef>
          <a:fillRef idx="0">
            <a:schemeClr val="accent1"/>
          </a:fillRef>
          <a:effectRef idx="0">
            <a:schemeClr val="accent1"/>
          </a:effectRef>
          <a:fontRef idx="minor">
            <a:schemeClr val="tx1"/>
          </a:fontRef>
        </p:style>
      </p:cxnSp>
      <p:cxnSp>
        <p:nvCxnSpPr>
          <p:cNvPr id="178" name="Elbow Connector 177"/>
          <p:cNvCxnSpPr>
            <a:stCxn id="127" idx="3"/>
            <a:endCxn id="96" idx="1"/>
          </p:cNvCxnSpPr>
          <p:nvPr/>
        </p:nvCxnSpPr>
        <p:spPr>
          <a:xfrm>
            <a:off x="6153584" y="3784036"/>
            <a:ext cx="224494" cy="646809"/>
          </a:xfrm>
          <a:prstGeom prst="bentConnector3">
            <a:avLst>
              <a:gd name="adj1" fmla="val 50000"/>
            </a:avLst>
          </a:prstGeom>
          <a:ln w="28575">
            <a:solidFill>
              <a:srgbClr val="425968"/>
            </a:solidFill>
            <a:tailEnd type="triangle"/>
          </a:ln>
        </p:spPr>
        <p:style>
          <a:lnRef idx="1">
            <a:schemeClr val="accent1"/>
          </a:lnRef>
          <a:fillRef idx="0">
            <a:schemeClr val="accent1"/>
          </a:fillRef>
          <a:effectRef idx="0">
            <a:schemeClr val="accent1"/>
          </a:effectRef>
          <a:fontRef idx="minor">
            <a:schemeClr val="tx1"/>
          </a:fontRef>
        </p:style>
      </p:cxnSp>
      <p:sp>
        <p:nvSpPr>
          <p:cNvPr id="221" name="Rectangle 220"/>
          <p:cNvSpPr>
            <a:spLocks/>
          </p:cNvSpPr>
          <p:nvPr/>
        </p:nvSpPr>
        <p:spPr>
          <a:xfrm>
            <a:off x="9545918" y="1854486"/>
            <a:ext cx="905521" cy="3859100"/>
          </a:xfrm>
          <a:prstGeom prst="rect">
            <a:avLst/>
          </a:prstGeom>
          <a:solidFill>
            <a:schemeClr val="accent5">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AU" sz="2000" b="1" i="0" u="none" strike="noStrike" kern="1200" cap="none" spc="0" normalizeH="0" baseline="0" noProof="0" dirty="0">
                <a:ln>
                  <a:noFill/>
                </a:ln>
                <a:solidFill>
                  <a:prstClr val="white"/>
                </a:solidFill>
                <a:effectLst/>
                <a:uLnTx/>
                <a:uFillTx/>
                <a:latin typeface="Montserrat Light"/>
                <a:ea typeface="+mn-ea"/>
                <a:cs typeface="+mn-cs"/>
              </a:rPr>
              <a:t>Central</a:t>
            </a:r>
          </a:p>
        </p:txBody>
      </p:sp>
      <p:sp>
        <p:nvSpPr>
          <p:cNvPr id="187" name="Rectangle 186"/>
          <p:cNvSpPr>
            <a:spLocks/>
          </p:cNvSpPr>
          <p:nvPr/>
        </p:nvSpPr>
        <p:spPr>
          <a:xfrm>
            <a:off x="10705508" y="1854486"/>
            <a:ext cx="856522" cy="3859100"/>
          </a:xfrm>
          <a:prstGeom prst="rect">
            <a:avLst/>
          </a:prstGeom>
          <a:solidFill>
            <a:schemeClr val="tx2">
              <a:lumMod val="75000"/>
            </a:schemeClr>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AU" sz="2000" b="1" i="0" u="none" strike="noStrike" kern="1200" cap="none" spc="0" normalizeH="0" baseline="0" noProof="0" dirty="0" smtClean="0">
                <a:ln>
                  <a:noFill/>
                </a:ln>
                <a:solidFill>
                  <a:prstClr val="white"/>
                </a:solidFill>
                <a:effectLst/>
                <a:uLnTx/>
                <a:uFillTx/>
                <a:latin typeface="Montserrat Light"/>
                <a:ea typeface="+mn-ea"/>
                <a:cs typeface="+mn-cs"/>
              </a:rPr>
              <a:t>Schools</a:t>
            </a:r>
            <a:endParaRPr kumimoji="0" lang="en-AU" sz="2000" b="1" i="0" u="none" strike="noStrike" kern="1200" cap="none" spc="0" normalizeH="0" baseline="0" noProof="0" dirty="0">
              <a:ln>
                <a:noFill/>
              </a:ln>
              <a:solidFill>
                <a:prstClr val="white"/>
              </a:solidFill>
              <a:effectLst/>
              <a:uLnTx/>
              <a:uFillTx/>
              <a:latin typeface="Montserrat Light"/>
              <a:ea typeface="+mn-ea"/>
              <a:cs typeface="+mn-cs"/>
            </a:endParaRPr>
          </a:p>
        </p:txBody>
      </p:sp>
      <p:sp>
        <p:nvSpPr>
          <p:cNvPr id="137" name="TextBox 136"/>
          <p:cNvSpPr txBox="1">
            <a:spLocks/>
          </p:cNvSpPr>
          <p:nvPr/>
        </p:nvSpPr>
        <p:spPr>
          <a:xfrm>
            <a:off x="10705499" y="1376665"/>
            <a:ext cx="856521" cy="369332"/>
          </a:xfrm>
          <a:prstGeom prst="rect">
            <a:avLst/>
          </a:prstGeom>
          <a:noFill/>
        </p:spPr>
        <p:txBody>
          <a:bodyPr wrap="none" lIns="0" tIns="0" rIns="0" bIns="0" rtlCol="0" anchor="b">
            <a:spAutoFit/>
          </a:bodyPr>
          <a:lstStyle/>
          <a:p>
            <a:pPr marL="0" marR="0" lvl="0" indent="0" algn="l" defTabSz="1219170" rtl="0" eaLnBrk="1" fontAlgn="base" latinLnBrk="0" hangingPunct="1">
              <a:lnSpc>
                <a:spcPct val="100000"/>
              </a:lnSpc>
              <a:spcAft>
                <a:spcPct val="0"/>
              </a:spcAft>
              <a:buClr>
                <a:prstClr val="black"/>
              </a:buClr>
              <a:buSzTx/>
              <a:buFontTx/>
              <a:buNone/>
              <a:tabLst/>
              <a:defRPr/>
            </a:pPr>
            <a:r>
              <a:rPr kumimoji="0" lang="en-US" sz="1200" b="1" i="0" u="none" strike="noStrike" kern="1200" cap="none" spc="0" normalizeH="0" baseline="0" noProof="0" dirty="0" smtClean="0">
                <a:ln>
                  <a:noFill/>
                </a:ln>
                <a:solidFill>
                  <a:prstClr val="black"/>
                </a:solidFill>
                <a:effectLst/>
                <a:uLnTx/>
                <a:uFillTx/>
                <a:latin typeface="Montserrat Light" charset="0"/>
                <a:ea typeface="ＭＳ Ｐゴシック" charset="0"/>
                <a:cs typeface="Arial" pitchFamily="34" charset="0"/>
              </a:rPr>
              <a:t>Implement &amp; </a:t>
            </a:r>
          </a:p>
          <a:p>
            <a:pPr marL="0" marR="0" lvl="0" indent="0" algn="l" defTabSz="1219170" rtl="0" eaLnBrk="1" fontAlgn="base" latinLnBrk="0" hangingPunct="1">
              <a:lnSpc>
                <a:spcPct val="100000"/>
              </a:lnSpc>
              <a:spcAft>
                <a:spcPct val="0"/>
              </a:spcAft>
              <a:buClr>
                <a:prstClr val="black"/>
              </a:buClr>
              <a:buSzTx/>
              <a:buFontTx/>
              <a:buNone/>
              <a:tabLst/>
              <a:defRPr/>
            </a:pPr>
            <a:r>
              <a:rPr kumimoji="0" lang="en-US" sz="1200" b="1" i="0" u="none" strike="noStrike" kern="1200" cap="none" spc="0" normalizeH="0" baseline="0" noProof="0" dirty="0" smtClean="0">
                <a:ln>
                  <a:noFill/>
                </a:ln>
                <a:solidFill>
                  <a:prstClr val="black"/>
                </a:solidFill>
                <a:effectLst/>
                <a:uLnTx/>
                <a:uFillTx/>
                <a:latin typeface="Montserrat Light" charset="0"/>
                <a:ea typeface="ＭＳ Ｐゴシック" charset="0"/>
                <a:cs typeface="Arial" pitchFamily="34" charset="0"/>
              </a:rPr>
              <a:t>Monitor</a:t>
            </a:r>
            <a:endParaRPr kumimoji="0" lang="en-US" sz="1200" b="1" i="0" u="none" strike="noStrike" kern="1200" cap="none" spc="0" normalizeH="0" baseline="0" noProof="0" dirty="0">
              <a:ln>
                <a:noFill/>
              </a:ln>
              <a:solidFill>
                <a:prstClr val="black"/>
              </a:solidFill>
              <a:effectLst/>
              <a:uLnTx/>
              <a:uFillTx/>
              <a:latin typeface="Montserrat Light" charset="0"/>
              <a:ea typeface="ＭＳ Ｐゴシック" charset="0"/>
              <a:cs typeface="Arial" pitchFamily="34" charset="0"/>
            </a:endParaRPr>
          </a:p>
        </p:txBody>
      </p:sp>
      <p:cxnSp>
        <p:nvCxnSpPr>
          <p:cNvPr id="144" name="Straight Connector 143"/>
          <p:cNvCxnSpPr>
            <a:cxnSpLocks/>
          </p:cNvCxnSpPr>
          <p:nvPr/>
        </p:nvCxnSpPr>
        <p:spPr>
          <a:xfrm>
            <a:off x="10705499" y="1783259"/>
            <a:ext cx="856521"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127" name="Rectangle 126"/>
          <p:cNvSpPr>
            <a:spLocks/>
          </p:cNvSpPr>
          <p:nvPr/>
        </p:nvSpPr>
        <p:spPr>
          <a:xfrm>
            <a:off x="2492931" y="1854486"/>
            <a:ext cx="3660653" cy="3859100"/>
          </a:xfrm>
          <a:prstGeom prst="rect">
            <a:avLst/>
          </a:prstGeom>
          <a:solidFill>
            <a:schemeClr val="accent5">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1219140" rtl="0" eaLnBrk="1" fontAlgn="base" latinLnBrk="0" hangingPunct="1">
              <a:lnSpc>
                <a:spcPct val="100000"/>
              </a:lnSpc>
              <a:spcBef>
                <a:spcPct val="0"/>
              </a:spcBef>
              <a:spcAft>
                <a:spcPct val="0"/>
              </a:spcAft>
              <a:buClrTx/>
              <a:buSzTx/>
              <a:buFontTx/>
              <a:buNone/>
              <a:tabLst/>
              <a:defRPr/>
            </a:pPr>
            <a:endParaRPr kumimoji="0" lang="en-AU" sz="2000" b="1" i="0" u="none" strike="noStrike" kern="1200" cap="none" spc="0" normalizeH="0" baseline="0" noProof="0" dirty="0">
              <a:ln>
                <a:noFill/>
              </a:ln>
              <a:solidFill>
                <a:prstClr val="white"/>
              </a:solidFill>
              <a:effectLst/>
              <a:uLnTx/>
              <a:uFillTx/>
              <a:latin typeface="Montserrat Light"/>
              <a:ea typeface="+mn-ea"/>
              <a:cs typeface="+mn-cs"/>
            </a:endParaRPr>
          </a:p>
        </p:txBody>
      </p:sp>
      <p:sp>
        <p:nvSpPr>
          <p:cNvPr id="148" name="TextBox 147"/>
          <p:cNvSpPr txBox="1">
            <a:spLocks/>
          </p:cNvSpPr>
          <p:nvPr/>
        </p:nvSpPr>
        <p:spPr>
          <a:xfrm>
            <a:off x="2533589" y="1899533"/>
            <a:ext cx="1961826" cy="708033"/>
          </a:xfrm>
          <a:prstGeom prst="rect">
            <a:avLst/>
          </a:prstGeom>
          <a:solidFill>
            <a:schemeClr val="bg1"/>
          </a:solidFill>
          <a:ln>
            <a:solidFill>
              <a:schemeClr val="tx2"/>
            </a:solidFill>
          </a:ln>
        </p:spPr>
        <p:txBody>
          <a:bodyPr wrap="none" lIns="72000" tIns="72000" rIns="72000" bIns="72000" rtlCol="0" anchor="t">
            <a:noAutofit/>
          </a:bodyPr>
          <a:lstStyle/>
          <a:p>
            <a:pPr marL="0" marR="0" lvl="0" indent="0" algn="l" defTabSz="1219170" rtl="0" eaLnBrk="1" fontAlgn="base" latinLnBrk="0" hangingPunct="1">
              <a:lnSpc>
                <a:spcPct val="100000"/>
              </a:lnSpc>
              <a:spcBef>
                <a:spcPts val="0"/>
              </a:spcBef>
              <a:spcAft>
                <a:spcPct val="0"/>
              </a:spcAft>
              <a:buClr>
                <a:prstClr val="black"/>
              </a:buClr>
              <a:buSzTx/>
              <a:buFontTx/>
              <a:buNone/>
              <a:tabLst/>
              <a:defRPr/>
            </a:pPr>
            <a:r>
              <a:rPr kumimoji="0" lang="en-US" sz="1200" b="1" i="0" u="none" strike="noStrike" kern="1200" cap="none" spc="0" normalizeH="0" baseline="0" noProof="0" dirty="0" smtClean="0">
                <a:ln>
                  <a:noFill/>
                </a:ln>
                <a:solidFill>
                  <a:prstClr val="black"/>
                </a:solidFill>
                <a:effectLst/>
                <a:uLnTx/>
                <a:uFillTx/>
                <a:latin typeface="Montserrat Light" charset="0"/>
                <a:ea typeface="ＭＳ Ｐゴシック" charset="0"/>
                <a:cs typeface="Arial" pitchFamily="34" charset="0"/>
              </a:rPr>
              <a:t>One visible schedule</a:t>
            </a:r>
            <a:endParaRPr kumimoji="0" lang="en-US" sz="1200" b="1" i="0" u="none" strike="noStrike" kern="1200" cap="none" spc="0" normalizeH="0" baseline="0" noProof="0" dirty="0">
              <a:ln>
                <a:noFill/>
              </a:ln>
              <a:solidFill>
                <a:prstClr val="black"/>
              </a:solidFill>
              <a:effectLst/>
              <a:uLnTx/>
              <a:uFillTx/>
              <a:latin typeface="Montserrat Light" charset="0"/>
              <a:ea typeface="ＭＳ Ｐゴシック" charset="0"/>
              <a:cs typeface="Arial" pitchFamily="34" charset="0"/>
            </a:endParaRPr>
          </a:p>
        </p:txBody>
      </p:sp>
      <p:grpSp>
        <p:nvGrpSpPr>
          <p:cNvPr id="17" name="Group 16"/>
          <p:cNvGrpSpPr/>
          <p:nvPr/>
        </p:nvGrpSpPr>
        <p:grpSpPr>
          <a:xfrm>
            <a:off x="2625413" y="2223202"/>
            <a:ext cx="1299399" cy="0"/>
            <a:chOff x="2777039" y="2149362"/>
            <a:chExt cx="1244338" cy="0"/>
          </a:xfrm>
        </p:grpSpPr>
        <p:cxnSp>
          <p:nvCxnSpPr>
            <p:cNvPr id="167" name="Straight Connector 166"/>
            <p:cNvCxnSpPr/>
            <p:nvPr/>
          </p:nvCxnSpPr>
          <p:spPr>
            <a:xfrm>
              <a:off x="2777039" y="2149362"/>
              <a:ext cx="698495"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8" name="Straight Connector 167"/>
            <p:cNvCxnSpPr/>
            <p:nvPr/>
          </p:nvCxnSpPr>
          <p:spPr>
            <a:xfrm>
              <a:off x="3595804" y="2149362"/>
              <a:ext cx="425573" cy="0"/>
            </a:xfrm>
            <a:prstGeom prst="line">
              <a:avLst/>
            </a:prstGeom>
            <a:ln w="19050"/>
          </p:spPr>
          <p:style>
            <a:lnRef idx="1">
              <a:schemeClr val="accent1"/>
            </a:lnRef>
            <a:fillRef idx="0">
              <a:schemeClr val="accent1"/>
            </a:fillRef>
            <a:effectRef idx="0">
              <a:schemeClr val="accent1"/>
            </a:effectRef>
            <a:fontRef idx="minor">
              <a:schemeClr val="tx1"/>
            </a:fontRef>
          </p:style>
        </p:cxnSp>
      </p:grpSp>
      <p:grpSp>
        <p:nvGrpSpPr>
          <p:cNvPr id="18" name="Group 17"/>
          <p:cNvGrpSpPr/>
          <p:nvPr/>
        </p:nvGrpSpPr>
        <p:grpSpPr>
          <a:xfrm>
            <a:off x="2754863" y="2359529"/>
            <a:ext cx="1424991" cy="0"/>
            <a:chOff x="2901004" y="2254873"/>
            <a:chExt cx="1364609" cy="0"/>
          </a:xfrm>
        </p:grpSpPr>
        <p:cxnSp>
          <p:nvCxnSpPr>
            <p:cNvPr id="170" name="Straight Connector 169"/>
            <p:cNvCxnSpPr/>
            <p:nvPr/>
          </p:nvCxnSpPr>
          <p:spPr>
            <a:xfrm>
              <a:off x="2901004" y="2254873"/>
              <a:ext cx="605979"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3659634" y="2254873"/>
              <a:ext cx="605979" cy="0"/>
            </a:xfrm>
            <a:prstGeom prst="line">
              <a:avLst/>
            </a:prstGeom>
            <a:ln w="19050"/>
          </p:spPr>
          <p:style>
            <a:lnRef idx="1">
              <a:schemeClr val="accent1"/>
            </a:lnRef>
            <a:fillRef idx="0">
              <a:schemeClr val="accent1"/>
            </a:fillRef>
            <a:effectRef idx="0">
              <a:schemeClr val="accent1"/>
            </a:effectRef>
            <a:fontRef idx="minor">
              <a:schemeClr val="tx1"/>
            </a:fontRef>
          </p:style>
        </p:cxnSp>
      </p:grpSp>
      <p:grpSp>
        <p:nvGrpSpPr>
          <p:cNvPr id="19" name="Group 18"/>
          <p:cNvGrpSpPr/>
          <p:nvPr/>
        </p:nvGrpSpPr>
        <p:grpSpPr>
          <a:xfrm>
            <a:off x="2963477" y="2495856"/>
            <a:ext cx="1362197" cy="0"/>
            <a:chOff x="3100778" y="2422016"/>
            <a:chExt cx="1304475" cy="0"/>
          </a:xfrm>
        </p:grpSpPr>
        <p:cxnSp>
          <p:nvCxnSpPr>
            <p:cNvPr id="173" name="Straight Connector 172"/>
            <p:cNvCxnSpPr/>
            <p:nvPr/>
          </p:nvCxnSpPr>
          <p:spPr>
            <a:xfrm>
              <a:off x="3100778" y="2422016"/>
              <a:ext cx="592103"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3873286" y="2422016"/>
              <a:ext cx="531967" cy="0"/>
            </a:xfrm>
            <a:prstGeom prst="line">
              <a:avLst/>
            </a:prstGeom>
            <a:ln w="19050"/>
          </p:spPr>
          <p:style>
            <a:lnRef idx="1">
              <a:schemeClr val="accent1"/>
            </a:lnRef>
            <a:fillRef idx="0">
              <a:schemeClr val="accent1"/>
            </a:fillRef>
            <a:effectRef idx="0">
              <a:schemeClr val="accent1"/>
            </a:effectRef>
            <a:fontRef idx="minor">
              <a:schemeClr val="tx1"/>
            </a:fontRef>
          </p:style>
        </p:cxnSp>
      </p:grpSp>
      <p:sp>
        <p:nvSpPr>
          <p:cNvPr id="150" name="TextBox 149"/>
          <p:cNvSpPr txBox="1">
            <a:spLocks/>
          </p:cNvSpPr>
          <p:nvPr/>
        </p:nvSpPr>
        <p:spPr>
          <a:xfrm>
            <a:off x="2533589" y="4430845"/>
            <a:ext cx="1961826" cy="1249514"/>
          </a:xfrm>
          <a:prstGeom prst="rect">
            <a:avLst/>
          </a:prstGeom>
          <a:solidFill>
            <a:schemeClr val="bg1"/>
          </a:solidFill>
          <a:ln>
            <a:solidFill>
              <a:schemeClr val="tx2"/>
            </a:solidFill>
          </a:ln>
        </p:spPr>
        <p:txBody>
          <a:bodyPr wrap="none" lIns="72000" tIns="72000" rIns="72000" bIns="72000" rtlCol="0" anchor="t">
            <a:noAutofit/>
          </a:bodyPr>
          <a:lstStyle/>
          <a:p>
            <a:pPr marL="0" marR="0" lvl="0" indent="0" algn="l" defTabSz="1219170" rtl="0" eaLnBrk="1" fontAlgn="base" latinLnBrk="0" hangingPunct="1">
              <a:lnSpc>
                <a:spcPct val="100000"/>
              </a:lnSpc>
              <a:spcBef>
                <a:spcPts val="600"/>
              </a:spcBef>
              <a:spcAft>
                <a:spcPct val="0"/>
              </a:spcAft>
              <a:buClr>
                <a:prstClr val="black"/>
              </a:buClr>
              <a:buSzTx/>
              <a:buFontTx/>
              <a:buNone/>
              <a:tabLst/>
              <a:defRPr/>
            </a:pPr>
            <a:r>
              <a:rPr kumimoji="0" lang="en-US" sz="1200" b="1" i="0" u="none" strike="noStrike" kern="1200" cap="none" spc="0" normalizeH="0" baseline="0" noProof="0" dirty="0" smtClean="0">
                <a:ln>
                  <a:noFill/>
                </a:ln>
                <a:solidFill>
                  <a:prstClr val="black"/>
                </a:solidFill>
                <a:effectLst/>
                <a:uLnTx/>
                <a:uFillTx/>
                <a:latin typeface="Montserrat Light" charset="0"/>
                <a:ea typeface="ＭＳ Ｐゴシック" charset="0"/>
                <a:cs typeface="Arial" pitchFamily="34" charset="0"/>
              </a:rPr>
              <a:t>Common language</a:t>
            </a:r>
            <a:endParaRPr kumimoji="0" lang="en-US" sz="1200" b="1" i="0" u="none" strike="noStrike" kern="1200" cap="none" spc="0" normalizeH="0" baseline="0" noProof="0" dirty="0">
              <a:ln>
                <a:noFill/>
              </a:ln>
              <a:solidFill>
                <a:prstClr val="black"/>
              </a:solidFill>
              <a:effectLst/>
              <a:uLnTx/>
              <a:uFillTx/>
              <a:latin typeface="Montserrat Light" charset="0"/>
              <a:ea typeface="ＭＳ Ｐゴシック" charset="0"/>
              <a:cs typeface="Arial" pitchFamily="34" charset="0"/>
            </a:endParaRPr>
          </a:p>
        </p:txBody>
      </p:sp>
      <p:sp>
        <p:nvSpPr>
          <p:cNvPr id="160" name="TextBox 159"/>
          <p:cNvSpPr txBox="1">
            <a:spLocks/>
          </p:cNvSpPr>
          <p:nvPr/>
        </p:nvSpPr>
        <p:spPr>
          <a:xfrm>
            <a:off x="2701619" y="4653137"/>
            <a:ext cx="88719" cy="307777"/>
          </a:xfrm>
          <a:prstGeom prst="rect">
            <a:avLst/>
          </a:prstGeom>
          <a:noFill/>
        </p:spPr>
        <p:txBody>
          <a:bodyPr wrap="none" lIns="0" tIns="0" rIns="0" bIns="0" rtlCol="0">
            <a:spAutoFit/>
          </a:bodyPr>
          <a:lstStyle/>
          <a:p>
            <a:pPr marL="0" marR="0" lvl="0" indent="0" algn="l" defTabSz="1219170" rtl="0" eaLnBrk="1" fontAlgn="base" latinLnBrk="0" hangingPunct="1">
              <a:lnSpc>
                <a:spcPct val="100000"/>
              </a:lnSpc>
              <a:spcBef>
                <a:spcPts val="600"/>
              </a:spcBef>
              <a:spcAft>
                <a:spcPct val="0"/>
              </a:spcAft>
              <a:buClr>
                <a:prstClr val="black"/>
              </a:buClr>
              <a:buSzTx/>
              <a:buFontTx/>
              <a:buNone/>
              <a:tabLst/>
              <a:defRPr/>
            </a:pPr>
            <a:r>
              <a:rPr kumimoji="0" lang="en-US" sz="2000" b="1" i="1" u="none" strike="noStrike" kern="1200" cap="none" spc="0" normalizeH="0" baseline="0" noProof="0" dirty="0">
                <a:ln>
                  <a:noFill/>
                </a:ln>
                <a:solidFill>
                  <a:prstClr val="black"/>
                </a:solidFill>
                <a:effectLst/>
                <a:uLnTx/>
                <a:uFillTx/>
                <a:latin typeface="Montserrat Light" charset="0"/>
                <a:ea typeface="ＭＳ Ｐゴシック" charset="0"/>
                <a:cs typeface="Arial" pitchFamily="34" charset="0"/>
              </a:rPr>
              <a:t>t</a:t>
            </a:r>
          </a:p>
        </p:txBody>
      </p:sp>
      <p:sp>
        <p:nvSpPr>
          <p:cNvPr id="162" name="TextBox 161"/>
          <p:cNvSpPr txBox="1">
            <a:spLocks/>
          </p:cNvSpPr>
          <p:nvPr/>
        </p:nvSpPr>
        <p:spPr>
          <a:xfrm>
            <a:off x="2941776" y="4705181"/>
            <a:ext cx="1451592" cy="184666"/>
          </a:xfrm>
          <a:prstGeom prst="rect">
            <a:avLst/>
          </a:prstGeom>
          <a:noFill/>
        </p:spPr>
        <p:txBody>
          <a:bodyPr wrap="square" lIns="0" tIns="0" rIns="0" bIns="0" rtlCol="0">
            <a:spAutoFit/>
          </a:bodyPr>
          <a:lstStyle/>
          <a:p>
            <a:pPr marL="0" marR="0" lvl="0" indent="0" algn="l" defTabSz="1219170" rtl="0" eaLnBrk="1" fontAlgn="base" latinLnBrk="0" hangingPunct="1">
              <a:lnSpc>
                <a:spcPct val="100000"/>
              </a:lnSpc>
              <a:spcBef>
                <a:spcPts val="600"/>
              </a:spcBef>
              <a:spcAft>
                <a:spcPct val="0"/>
              </a:spcAft>
              <a:buClr>
                <a:prstClr val="black"/>
              </a:buClr>
              <a:buSzTx/>
              <a:buFontTx/>
              <a:buNone/>
              <a:tabLst/>
              <a:defRPr/>
            </a:pPr>
            <a:r>
              <a:rPr kumimoji="0" lang="en-US" sz="1200" b="0" i="0" u="none" strike="noStrike" kern="1200" cap="none" spc="0" normalizeH="0" baseline="0" noProof="0" dirty="0" smtClean="0">
                <a:ln>
                  <a:noFill/>
                </a:ln>
                <a:solidFill>
                  <a:prstClr val="black"/>
                </a:solidFill>
                <a:effectLst/>
                <a:uLnTx/>
                <a:uFillTx/>
                <a:latin typeface="Montserrat Light" charset="0"/>
                <a:ea typeface="ＭＳ Ｐゴシック" charset="0"/>
                <a:cs typeface="Arial" pitchFamily="34" charset="0"/>
              </a:rPr>
              <a:t>Metrics &amp; measures</a:t>
            </a:r>
            <a:endParaRPr kumimoji="0" lang="en-US" sz="1200" b="0" i="0" u="none" strike="noStrike" kern="1200" cap="none" spc="0" normalizeH="0" baseline="0" noProof="0" dirty="0">
              <a:ln>
                <a:noFill/>
              </a:ln>
              <a:solidFill>
                <a:prstClr val="black"/>
              </a:solidFill>
              <a:effectLst/>
              <a:uLnTx/>
              <a:uFillTx/>
              <a:latin typeface="Montserrat Light" charset="0"/>
              <a:ea typeface="ＭＳ Ｐゴシック" charset="0"/>
              <a:cs typeface="Arial" pitchFamily="34" charset="0"/>
            </a:endParaRPr>
          </a:p>
        </p:txBody>
      </p:sp>
      <p:sp>
        <p:nvSpPr>
          <p:cNvPr id="10" name="Diamond 9"/>
          <p:cNvSpPr>
            <a:spLocks/>
          </p:cNvSpPr>
          <p:nvPr/>
        </p:nvSpPr>
        <p:spPr>
          <a:xfrm>
            <a:off x="4563647" y="1854486"/>
            <a:ext cx="1541992" cy="3859100"/>
          </a:xfrm>
          <a:prstGeom prst="diamond">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200" b="1" i="0" u="none" strike="noStrike" kern="1200" cap="none" spc="0" normalizeH="0" baseline="0" noProof="0" dirty="0" smtClean="0">
              <a:ln>
                <a:noFill/>
              </a:ln>
              <a:solidFill>
                <a:prstClr val="white"/>
              </a:solidFill>
              <a:effectLst/>
              <a:uLnTx/>
              <a:uFillTx/>
              <a:latin typeface="Montserrat Light"/>
              <a:ea typeface="+mn-ea"/>
              <a:cs typeface="+mn-cs"/>
            </a:endParaRPr>
          </a:p>
        </p:txBody>
      </p:sp>
      <p:sp>
        <p:nvSpPr>
          <p:cNvPr id="181" name="Rectangle 180"/>
          <p:cNvSpPr>
            <a:spLocks/>
          </p:cNvSpPr>
          <p:nvPr/>
        </p:nvSpPr>
        <p:spPr>
          <a:xfrm>
            <a:off x="2492931" y="5796802"/>
            <a:ext cx="3710772" cy="10196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82" name="TextBox 181"/>
          <p:cNvSpPr txBox="1">
            <a:spLocks/>
          </p:cNvSpPr>
          <p:nvPr/>
        </p:nvSpPr>
        <p:spPr>
          <a:xfrm>
            <a:off x="2533590" y="5836160"/>
            <a:ext cx="3582203" cy="671979"/>
          </a:xfrm>
          <a:prstGeom prst="rect">
            <a:avLst/>
          </a:prstGeom>
          <a:noFill/>
        </p:spPr>
        <p:txBody>
          <a:bodyPr wrap="square" lIns="0" tIns="0" rIns="0" bIns="0" rtlCol="0">
            <a:spAutoFit/>
          </a:bodyPr>
          <a:lstStyle/>
          <a:p>
            <a:pPr marL="144000" marR="0" lvl="0" indent="-108000" algn="l" defTabSz="914378" rtl="0" eaLnBrk="1" fontAlgn="auto" latinLnBrk="0" hangingPunct="1">
              <a:lnSpc>
                <a:spcPct val="100000"/>
              </a:lnSpc>
              <a:spcBef>
                <a:spcPts val="225"/>
              </a:spcBef>
              <a:spcAft>
                <a:spcPts val="0"/>
              </a:spcAft>
              <a:buClr>
                <a:prstClr val="white"/>
              </a:buClr>
              <a:buSzTx/>
              <a:buFont typeface="Arial" pitchFamily="34" charset="0"/>
              <a:buChar char="•"/>
              <a:tabLst/>
              <a:defRPr/>
            </a:pPr>
            <a:r>
              <a:rPr kumimoji="0" lang="en-US" sz="1050" b="1" i="0" u="none" strike="noStrike" kern="1200" cap="none" spc="0" normalizeH="0" baseline="0" noProof="0" dirty="0" smtClean="0">
                <a:ln>
                  <a:noFill/>
                </a:ln>
                <a:solidFill>
                  <a:schemeClr val="bg1"/>
                </a:solidFill>
                <a:effectLst/>
                <a:uLnTx/>
                <a:uFillTx/>
                <a:latin typeface="Montserrat Light"/>
                <a:ea typeface="+mn-ea"/>
                <a:cs typeface="Arial" pitchFamily="34" charset="0"/>
              </a:rPr>
              <a:t>Proposals are reviewed,</a:t>
            </a:r>
            <a:r>
              <a:rPr kumimoji="0" lang="en-US" sz="1050" b="1" i="0" u="none" strike="noStrike" kern="1200" cap="none" spc="0" normalizeH="0" noProof="0" dirty="0" smtClean="0">
                <a:ln>
                  <a:noFill/>
                </a:ln>
                <a:solidFill>
                  <a:schemeClr val="bg1"/>
                </a:solidFill>
                <a:effectLst/>
                <a:uLnTx/>
                <a:uFillTx/>
                <a:latin typeface="Montserrat Light"/>
                <a:ea typeface="+mn-ea"/>
                <a:cs typeface="Arial" pitchFamily="34" charset="0"/>
              </a:rPr>
              <a:t> iterated and prioritised locally against </a:t>
            </a:r>
            <a:r>
              <a:rPr kumimoji="0" lang="en-US" sz="1050" b="1" i="0" u="none" strike="noStrike" kern="1200" cap="none" spc="0" normalizeH="0" baseline="0" noProof="0" dirty="0" smtClean="0">
                <a:ln>
                  <a:noFill/>
                </a:ln>
                <a:solidFill>
                  <a:schemeClr val="bg1"/>
                </a:solidFill>
                <a:effectLst/>
                <a:uLnTx/>
                <a:uFillTx/>
                <a:latin typeface="Montserrat Light"/>
                <a:ea typeface="+mn-ea"/>
                <a:cs typeface="Arial" pitchFamily="34" charset="0"/>
              </a:rPr>
              <a:t>a </a:t>
            </a:r>
            <a:r>
              <a:rPr kumimoji="0" lang="en-US" sz="1050" b="1" i="0" u="none" strike="noStrike" kern="1200" cap="none" spc="0" normalizeH="0" baseline="0" noProof="0" dirty="0">
                <a:ln>
                  <a:noFill/>
                </a:ln>
                <a:solidFill>
                  <a:schemeClr val="bg1"/>
                </a:solidFill>
                <a:effectLst/>
                <a:uLnTx/>
                <a:uFillTx/>
                <a:latin typeface="Montserrat Light"/>
                <a:ea typeface="+mn-ea"/>
                <a:cs typeface="Arial" pitchFamily="34" charset="0"/>
              </a:rPr>
              <a:t>common set of </a:t>
            </a:r>
            <a:r>
              <a:rPr kumimoji="0" lang="en-US" sz="1050" b="1" i="0" u="none" strike="noStrike" kern="1200" cap="none" spc="0" normalizeH="0" baseline="0" noProof="0" dirty="0" smtClean="0">
                <a:ln>
                  <a:noFill/>
                </a:ln>
                <a:solidFill>
                  <a:schemeClr val="bg1"/>
                </a:solidFill>
                <a:effectLst/>
                <a:uLnTx/>
                <a:uFillTx/>
                <a:latin typeface="Montserrat Light"/>
                <a:ea typeface="+mn-ea"/>
                <a:cs typeface="Arial" pitchFamily="34" charset="0"/>
              </a:rPr>
              <a:t>guidelines set centrally </a:t>
            </a:r>
            <a:r>
              <a:rPr kumimoji="0" lang="en-US" sz="1050" b="0" i="0" u="none" strike="noStrike" kern="1200" cap="none" spc="0" normalizeH="0" baseline="0" noProof="0" dirty="0" smtClean="0">
                <a:ln>
                  <a:noFill/>
                </a:ln>
                <a:solidFill>
                  <a:schemeClr val="bg1"/>
                </a:solidFill>
                <a:effectLst/>
                <a:uLnTx/>
                <a:uFillTx/>
                <a:latin typeface="Montserrat Light"/>
                <a:ea typeface="+mn-ea"/>
                <a:cs typeface="Arial" pitchFamily="34" charset="0"/>
              </a:rPr>
              <a:t>(</a:t>
            </a:r>
            <a:r>
              <a:rPr kumimoji="0" lang="en-US" sz="1050" b="0" i="0" u="none" strike="noStrike" kern="1200" cap="none" spc="0" normalizeH="0" baseline="0" noProof="0" dirty="0">
                <a:ln>
                  <a:noFill/>
                </a:ln>
                <a:solidFill>
                  <a:schemeClr val="bg1"/>
                </a:solidFill>
                <a:effectLst/>
                <a:uLnTx/>
                <a:uFillTx/>
                <a:latin typeface="Montserrat Light"/>
                <a:ea typeface="+mn-ea"/>
                <a:cs typeface="Arial" pitchFamily="34" charset="0"/>
              </a:rPr>
              <a:t>e.g. fit within the common schedule)</a:t>
            </a:r>
          </a:p>
          <a:p>
            <a:pPr marL="144000" marR="0" lvl="0" indent="-108000" algn="l" defTabSz="914378" rtl="0" eaLnBrk="1" fontAlgn="auto" latinLnBrk="0" hangingPunct="1">
              <a:lnSpc>
                <a:spcPct val="100000"/>
              </a:lnSpc>
              <a:spcBef>
                <a:spcPts val="225"/>
              </a:spcBef>
              <a:spcAft>
                <a:spcPts val="0"/>
              </a:spcAft>
              <a:buClr>
                <a:prstClr val="white"/>
              </a:buClr>
              <a:buSzTx/>
              <a:buFont typeface="Arial" pitchFamily="34" charset="0"/>
              <a:buChar char="•"/>
              <a:tabLst/>
              <a:defRPr/>
            </a:pPr>
            <a:endParaRPr kumimoji="0" lang="en-US" sz="1050" b="0" i="0" u="none" strike="noStrike" kern="1200" cap="none" spc="0" normalizeH="0" baseline="0" noProof="0" dirty="0" smtClean="0">
              <a:ln>
                <a:noFill/>
              </a:ln>
              <a:solidFill>
                <a:schemeClr val="bg1"/>
              </a:solidFill>
              <a:effectLst/>
              <a:uLnTx/>
              <a:uFillTx/>
              <a:latin typeface="Montserrat Light"/>
              <a:ea typeface="+mn-ea"/>
              <a:cs typeface="Arial" pitchFamily="34" charset="0"/>
            </a:endParaRPr>
          </a:p>
        </p:txBody>
      </p:sp>
      <p:sp>
        <p:nvSpPr>
          <p:cNvPr id="158" name="TextBox 157"/>
          <p:cNvSpPr txBox="1">
            <a:spLocks/>
          </p:cNvSpPr>
          <p:nvPr/>
        </p:nvSpPr>
        <p:spPr>
          <a:xfrm>
            <a:off x="2533589" y="3377377"/>
            <a:ext cx="1961826" cy="979756"/>
          </a:xfrm>
          <a:prstGeom prst="rect">
            <a:avLst/>
          </a:prstGeom>
          <a:solidFill>
            <a:schemeClr val="bg1"/>
          </a:solidFill>
          <a:ln>
            <a:solidFill>
              <a:schemeClr val="tx2"/>
            </a:solidFill>
          </a:ln>
        </p:spPr>
        <p:txBody>
          <a:bodyPr wrap="none" lIns="72000" tIns="72000" rIns="72000" bIns="72000" rtlCol="0" anchor="t">
            <a:noAutofit/>
          </a:bodyPr>
          <a:lstStyle/>
          <a:p>
            <a:pPr marL="0" marR="0" lvl="0" indent="0" algn="l" defTabSz="1219170" rtl="0" eaLnBrk="1" fontAlgn="base" latinLnBrk="0" hangingPunct="1">
              <a:lnSpc>
                <a:spcPct val="100000"/>
              </a:lnSpc>
              <a:spcBef>
                <a:spcPts val="600"/>
              </a:spcBef>
              <a:spcAft>
                <a:spcPct val="0"/>
              </a:spcAft>
              <a:buClr>
                <a:prstClr val="black"/>
              </a:buClr>
              <a:buSzTx/>
              <a:buFontTx/>
              <a:buNone/>
              <a:tabLst/>
              <a:defRPr/>
            </a:pPr>
            <a:r>
              <a:rPr kumimoji="0" lang="en-US" sz="1200" b="1" i="0" u="none" strike="noStrike" kern="1200" cap="none" spc="0" normalizeH="0" baseline="0" noProof="0" dirty="0" smtClean="0">
                <a:ln>
                  <a:noFill/>
                </a:ln>
                <a:solidFill>
                  <a:prstClr val="black"/>
                </a:solidFill>
                <a:effectLst/>
                <a:uLnTx/>
                <a:uFillTx/>
                <a:latin typeface="Montserrat Light" charset="0"/>
                <a:ea typeface="ＭＳ Ｐゴシック" charset="0"/>
                <a:cs typeface="Arial" pitchFamily="34" charset="0"/>
              </a:rPr>
              <a:t>Agreed limits</a:t>
            </a:r>
            <a:endParaRPr kumimoji="0" lang="en-US" sz="1200" b="1" i="0" u="none" strike="noStrike" kern="1200" cap="none" spc="0" normalizeH="0" baseline="0" noProof="0" dirty="0">
              <a:ln>
                <a:noFill/>
              </a:ln>
              <a:solidFill>
                <a:prstClr val="black"/>
              </a:solidFill>
              <a:effectLst/>
              <a:uLnTx/>
              <a:uFillTx/>
              <a:latin typeface="Montserrat Light" charset="0"/>
              <a:ea typeface="ＭＳ Ｐゴシック" charset="0"/>
              <a:cs typeface="Arial" pitchFamily="34" charset="0"/>
            </a:endParaRPr>
          </a:p>
        </p:txBody>
      </p:sp>
      <p:sp>
        <p:nvSpPr>
          <p:cNvPr id="184" name="TextBox 183"/>
          <p:cNvSpPr txBox="1">
            <a:spLocks/>
          </p:cNvSpPr>
          <p:nvPr/>
        </p:nvSpPr>
        <p:spPr>
          <a:xfrm>
            <a:off x="2611480" y="3704596"/>
            <a:ext cx="1724195" cy="369332"/>
          </a:xfrm>
          <a:prstGeom prst="rect">
            <a:avLst/>
          </a:prstGeom>
          <a:noFill/>
        </p:spPr>
        <p:txBody>
          <a:bodyPr wrap="square" lIns="0" tIns="0" rIns="0" bIns="0" rtlCol="0">
            <a:spAutoFit/>
          </a:bodyPr>
          <a:lstStyle/>
          <a:p>
            <a:pPr marL="0" marR="0" lvl="0" indent="0" algn="l" defTabSz="1219170" rtl="0" eaLnBrk="1" fontAlgn="base" latinLnBrk="0" hangingPunct="1">
              <a:lnSpc>
                <a:spcPct val="100000"/>
              </a:lnSpc>
              <a:spcBef>
                <a:spcPts val="600"/>
              </a:spcBef>
              <a:spcAft>
                <a:spcPct val="0"/>
              </a:spcAft>
              <a:buClr>
                <a:prstClr val="black"/>
              </a:buClr>
              <a:buSzTx/>
              <a:buFontTx/>
              <a:buNone/>
              <a:tabLst/>
              <a:defRPr/>
            </a:pPr>
            <a:r>
              <a:rPr kumimoji="0" lang="en-US" sz="1200" b="0" i="0" u="none" strike="noStrike" kern="1200" cap="none" spc="0" normalizeH="0" baseline="0" noProof="0" dirty="0" smtClean="0">
                <a:ln>
                  <a:noFill/>
                </a:ln>
                <a:solidFill>
                  <a:prstClr val="black"/>
                </a:solidFill>
                <a:effectLst/>
                <a:uLnTx/>
                <a:uFillTx/>
                <a:latin typeface="Montserrat Light" charset="0"/>
                <a:ea typeface="ＭＳ Ｐゴシック" charset="0"/>
                <a:cs typeface="Arial" pitchFamily="34" charset="0"/>
              </a:rPr>
              <a:t>Max time </a:t>
            </a:r>
            <a:r>
              <a:rPr kumimoji="0" lang="en-US" sz="1200" b="0" i="0" u="none" strike="noStrike" kern="1200" cap="none" spc="0" normalizeH="0" baseline="0" noProof="0" dirty="0">
                <a:ln>
                  <a:noFill/>
                </a:ln>
                <a:solidFill>
                  <a:prstClr val="black"/>
                </a:solidFill>
                <a:effectLst/>
                <a:uLnTx/>
                <a:uFillTx/>
                <a:latin typeface="Montserrat Light" charset="0"/>
                <a:ea typeface="ＭＳ Ｐゴシック" charset="0"/>
                <a:cs typeface="Arial" pitchFamily="34" charset="0"/>
              </a:rPr>
              <a:t>impact on schools per term</a:t>
            </a:r>
          </a:p>
        </p:txBody>
      </p:sp>
      <p:sp>
        <p:nvSpPr>
          <p:cNvPr id="188" name="TextBox 187"/>
          <p:cNvSpPr txBox="1">
            <a:spLocks/>
          </p:cNvSpPr>
          <p:nvPr/>
        </p:nvSpPr>
        <p:spPr>
          <a:xfrm>
            <a:off x="2611480" y="4115334"/>
            <a:ext cx="1724195" cy="369332"/>
          </a:xfrm>
          <a:prstGeom prst="rect">
            <a:avLst/>
          </a:prstGeom>
          <a:noFill/>
        </p:spPr>
        <p:txBody>
          <a:bodyPr wrap="square" lIns="0" tIns="0" rIns="0" bIns="0" rtlCol="0">
            <a:spAutoFit/>
          </a:bodyPr>
          <a:lstStyle/>
          <a:p>
            <a:pPr marL="0" marR="0" lvl="0" indent="0" algn="l" defTabSz="1219170" rtl="0" eaLnBrk="1" fontAlgn="base" latinLnBrk="0" hangingPunct="1">
              <a:lnSpc>
                <a:spcPct val="100000"/>
              </a:lnSpc>
              <a:spcBef>
                <a:spcPts val="600"/>
              </a:spcBef>
              <a:spcAft>
                <a:spcPct val="0"/>
              </a:spcAft>
              <a:buClr>
                <a:prstClr val="black"/>
              </a:buClr>
              <a:buSzTx/>
              <a:buFontTx/>
              <a:buNone/>
              <a:tabLst/>
              <a:defRPr/>
            </a:pPr>
            <a:r>
              <a:rPr kumimoji="0" lang="en-US" sz="1200" b="0" i="0" u="none" strike="noStrike" kern="1200" cap="none" spc="0" normalizeH="0" baseline="0" noProof="0" dirty="0" smtClean="0">
                <a:ln>
                  <a:noFill/>
                </a:ln>
                <a:solidFill>
                  <a:prstClr val="black"/>
                </a:solidFill>
                <a:effectLst/>
                <a:uLnTx/>
                <a:uFillTx/>
                <a:latin typeface="Montserrat Light" charset="0"/>
                <a:ea typeface="ＭＳ Ｐゴシック" charset="0"/>
                <a:cs typeface="Arial" pitchFamily="34" charset="0"/>
              </a:rPr>
              <a:t>Max changes </a:t>
            </a:r>
            <a:r>
              <a:rPr kumimoji="0" lang="en-US" sz="1200" b="0" i="0" u="none" strike="noStrike" kern="1200" cap="none" spc="0" normalizeH="0" baseline="0" noProof="0" dirty="0">
                <a:ln>
                  <a:noFill/>
                </a:ln>
                <a:solidFill>
                  <a:prstClr val="black"/>
                </a:solidFill>
                <a:effectLst/>
                <a:uLnTx/>
                <a:uFillTx/>
                <a:latin typeface="Montserrat Light" charset="0"/>
                <a:ea typeface="ＭＳ Ｐゴシック" charset="0"/>
                <a:cs typeface="Arial" pitchFamily="34" charset="0"/>
              </a:rPr>
              <a:t>per term</a:t>
            </a:r>
          </a:p>
        </p:txBody>
      </p:sp>
      <p:sp>
        <p:nvSpPr>
          <p:cNvPr id="192" name="TextBox 191"/>
          <p:cNvSpPr txBox="1">
            <a:spLocks/>
          </p:cNvSpPr>
          <p:nvPr/>
        </p:nvSpPr>
        <p:spPr>
          <a:xfrm>
            <a:off x="2941776" y="4952725"/>
            <a:ext cx="1451592" cy="184666"/>
          </a:xfrm>
          <a:prstGeom prst="rect">
            <a:avLst/>
          </a:prstGeom>
          <a:noFill/>
        </p:spPr>
        <p:txBody>
          <a:bodyPr wrap="square" lIns="0" tIns="0" rIns="0" bIns="0" rtlCol="0">
            <a:spAutoFit/>
          </a:bodyPr>
          <a:lstStyle/>
          <a:p>
            <a:pPr marL="0" marR="0" lvl="0" indent="0" algn="l" defTabSz="1219170" rtl="0" eaLnBrk="1" fontAlgn="base" latinLnBrk="0" hangingPunct="1">
              <a:lnSpc>
                <a:spcPct val="100000"/>
              </a:lnSpc>
              <a:spcBef>
                <a:spcPts val="600"/>
              </a:spcBef>
              <a:spcAft>
                <a:spcPct val="0"/>
              </a:spcAft>
              <a:buClr>
                <a:prstClr val="black"/>
              </a:buClr>
              <a:buSzTx/>
              <a:buFontTx/>
              <a:buNone/>
              <a:tabLst/>
              <a:defRPr/>
            </a:pPr>
            <a:r>
              <a:rPr kumimoji="0" lang="en-US" sz="1200" b="0" i="0" u="none" strike="noStrike" kern="1200" cap="none" spc="0" normalizeH="0" baseline="0" noProof="0" dirty="0" smtClean="0">
                <a:ln>
                  <a:noFill/>
                </a:ln>
                <a:solidFill>
                  <a:prstClr val="black"/>
                </a:solidFill>
                <a:effectLst/>
                <a:uLnTx/>
                <a:uFillTx/>
                <a:latin typeface="Montserrat Light" charset="0"/>
                <a:ea typeface="ＭＳ Ｐゴシック" charset="0"/>
                <a:cs typeface="Arial" pitchFamily="34" charset="0"/>
              </a:rPr>
              <a:t>Definitions</a:t>
            </a:r>
            <a:endParaRPr kumimoji="0" lang="en-US" sz="1200" b="0" i="0" u="none" strike="noStrike" kern="1200" cap="none" spc="0" normalizeH="0" baseline="0" noProof="0" dirty="0">
              <a:ln>
                <a:noFill/>
              </a:ln>
              <a:solidFill>
                <a:prstClr val="black"/>
              </a:solidFill>
              <a:effectLst/>
              <a:uLnTx/>
              <a:uFillTx/>
              <a:latin typeface="Montserrat Light" charset="0"/>
              <a:ea typeface="ＭＳ Ｐゴシック" charset="0"/>
              <a:cs typeface="Arial" pitchFamily="34" charset="0"/>
            </a:endParaRPr>
          </a:p>
        </p:txBody>
      </p:sp>
      <p:sp>
        <p:nvSpPr>
          <p:cNvPr id="193" name="TextBox 192"/>
          <p:cNvSpPr txBox="1">
            <a:spLocks/>
          </p:cNvSpPr>
          <p:nvPr/>
        </p:nvSpPr>
        <p:spPr>
          <a:xfrm>
            <a:off x="2941776" y="5200269"/>
            <a:ext cx="1451592" cy="184666"/>
          </a:xfrm>
          <a:prstGeom prst="rect">
            <a:avLst/>
          </a:prstGeom>
          <a:noFill/>
        </p:spPr>
        <p:txBody>
          <a:bodyPr wrap="square" lIns="0" tIns="0" rIns="0" bIns="0" rtlCol="0">
            <a:spAutoFit/>
          </a:bodyPr>
          <a:lstStyle/>
          <a:p>
            <a:pPr marL="0" marR="0" lvl="0" indent="0" algn="l" defTabSz="1219170" rtl="0" eaLnBrk="1" fontAlgn="base" latinLnBrk="0" hangingPunct="1">
              <a:lnSpc>
                <a:spcPct val="100000"/>
              </a:lnSpc>
              <a:spcBef>
                <a:spcPts val="600"/>
              </a:spcBef>
              <a:spcAft>
                <a:spcPct val="0"/>
              </a:spcAft>
              <a:buClr>
                <a:prstClr val="black"/>
              </a:buClr>
              <a:buSzTx/>
              <a:buFontTx/>
              <a:buNone/>
              <a:tabLst/>
              <a:defRPr/>
            </a:pPr>
            <a:r>
              <a:rPr kumimoji="0" lang="en-US" sz="1200" b="0" i="0" u="none" strike="noStrike" kern="1200" cap="none" spc="0" normalizeH="0" baseline="0" noProof="0" dirty="0" smtClean="0">
                <a:ln>
                  <a:noFill/>
                </a:ln>
                <a:solidFill>
                  <a:prstClr val="black"/>
                </a:solidFill>
                <a:effectLst/>
                <a:uLnTx/>
                <a:uFillTx/>
                <a:latin typeface="Montserrat Light" charset="0"/>
                <a:ea typeface="ＭＳ Ｐゴシック" charset="0"/>
                <a:cs typeface="Arial" pitchFamily="34" charset="0"/>
              </a:rPr>
              <a:t>Principles</a:t>
            </a:r>
            <a:endParaRPr kumimoji="0" lang="en-US" sz="1200" b="0" i="0" u="none" strike="noStrike" kern="1200" cap="none" spc="0" normalizeH="0" baseline="0" noProof="0" dirty="0">
              <a:ln>
                <a:noFill/>
              </a:ln>
              <a:solidFill>
                <a:prstClr val="black"/>
              </a:solidFill>
              <a:effectLst/>
              <a:uLnTx/>
              <a:uFillTx/>
              <a:latin typeface="Montserrat Light" charset="0"/>
              <a:ea typeface="ＭＳ Ｐゴシック" charset="0"/>
              <a:cs typeface="Arial" pitchFamily="34" charset="0"/>
            </a:endParaRPr>
          </a:p>
        </p:txBody>
      </p:sp>
      <p:sp>
        <p:nvSpPr>
          <p:cNvPr id="152" name="TextBox 151"/>
          <p:cNvSpPr txBox="1">
            <a:spLocks/>
          </p:cNvSpPr>
          <p:nvPr/>
        </p:nvSpPr>
        <p:spPr>
          <a:xfrm>
            <a:off x="2492933" y="1362280"/>
            <a:ext cx="3710770" cy="369332"/>
          </a:xfrm>
          <a:prstGeom prst="rect">
            <a:avLst/>
          </a:prstGeom>
          <a:noFill/>
        </p:spPr>
        <p:txBody>
          <a:bodyPr wrap="square" lIns="0" tIns="0" rIns="0" bIns="0" rtlCol="0" anchor="b">
            <a:spAutoFit/>
          </a:bodyPr>
          <a:lstStyle/>
          <a:p>
            <a:pPr marL="0" marR="0" lvl="0" indent="0" algn="l" defTabSz="1219170" rtl="0" eaLnBrk="1" fontAlgn="base" latinLnBrk="0" hangingPunct="1">
              <a:lnSpc>
                <a:spcPct val="100000"/>
              </a:lnSpc>
              <a:spcBef>
                <a:spcPts val="0"/>
              </a:spcBef>
              <a:spcAft>
                <a:spcPct val="0"/>
              </a:spcAft>
              <a:buClr>
                <a:prstClr val="black"/>
              </a:buClr>
              <a:buSzTx/>
              <a:buFontTx/>
              <a:buNone/>
              <a:tabLst/>
              <a:defRPr/>
            </a:pPr>
            <a:r>
              <a:rPr kumimoji="0" lang="en-US" sz="1200" b="1" i="0" u="none" strike="noStrike" kern="1200" cap="none" spc="0" normalizeH="0" baseline="0" noProof="0" dirty="0" smtClean="0">
                <a:ln>
                  <a:noFill/>
                </a:ln>
                <a:solidFill>
                  <a:prstClr val="black"/>
                </a:solidFill>
                <a:effectLst/>
                <a:uLnTx/>
                <a:uFillTx/>
                <a:latin typeface="Montserrat Light" charset="0"/>
                <a:ea typeface="ＭＳ Ｐゴシック" charset="0"/>
                <a:cs typeface="Arial" pitchFamily="34" charset="0"/>
              </a:rPr>
              <a:t>Gate 2 – </a:t>
            </a:r>
          </a:p>
          <a:p>
            <a:pPr marL="0" marR="0" lvl="0" indent="0" algn="l" defTabSz="1219170" rtl="0" eaLnBrk="1" fontAlgn="base" latinLnBrk="0" hangingPunct="1">
              <a:lnSpc>
                <a:spcPct val="100000"/>
              </a:lnSpc>
              <a:spcBef>
                <a:spcPts val="0"/>
              </a:spcBef>
              <a:spcAft>
                <a:spcPct val="0"/>
              </a:spcAft>
              <a:buClr>
                <a:prstClr val="black"/>
              </a:buClr>
              <a:buSzTx/>
              <a:buFontTx/>
              <a:buNone/>
              <a:tabLst/>
              <a:defRPr/>
            </a:pPr>
            <a:r>
              <a:rPr lang="en-US" sz="1200" b="1" dirty="0" smtClean="0">
                <a:solidFill>
                  <a:prstClr val="black"/>
                </a:solidFill>
                <a:latin typeface="Montserrat Light" charset="0"/>
                <a:ea typeface="ＭＳ Ｐゴシック" charset="0"/>
                <a:cs typeface="Arial" pitchFamily="34" charset="0"/>
              </a:rPr>
              <a:t>Design within</a:t>
            </a:r>
            <a:r>
              <a:rPr kumimoji="0" lang="en-US" sz="1200" b="1" i="0" u="none" strike="noStrike" kern="1200" cap="none" spc="0" normalizeH="0" baseline="0" noProof="0" dirty="0" smtClean="0">
                <a:ln>
                  <a:noFill/>
                </a:ln>
                <a:solidFill>
                  <a:prstClr val="black"/>
                </a:solidFill>
                <a:effectLst/>
                <a:uLnTx/>
                <a:uFillTx/>
                <a:latin typeface="Montserrat Light" charset="0"/>
                <a:ea typeface="ＭＳ Ｐゴシック" charset="0"/>
                <a:cs typeface="Arial" pitchFamily="34" charset="0"/>
              </a:rPr>
              <a:t> “rules </a:t>
            </a:r>
            <a:r>
              <a:rPr kumimoji="0" lang="en-US" sz="1200" b="1" i="0" u="none" strike="noStrike" kern="1200" cap="none" spc="0" normalizeH="0" baseline="0" noProof="0" dirty="0">
                <a:ln>
                  <a:noFill/>
                </a:ln>
                <a:solidFill>
                  <a:prstClr val="black"/>
                </a:solidFill>
                <a:effectLst/>
                <a:uLnTx/>
                <a:uFillTx/>
                <a:latin typeface="Montserrat Light" charset="0"/>
                <a:ea typeface="ＭＳ Ｐゴシック" charset="0"/>
                <a:cs typeface="Arial" pitchFamily="34" charset="0"/>
              </a:rPr>
              <a:t>of the </a:t>
            </a:r>
            <a:r>
              <a:rPr kumimoji="0" lang="en-US" sz="1200" b="1" i="0" u="none" strike="noStrike" kern="1200" cap="none" spc="0" normalizeH="0" baseline="0" noProof="0" dirty="0" smtClean="0">
                <a:ln>
                  <a:noFill/>
                </a:ln>
                <a:solidFill>
                  <a:prstClr val="black"/>
                </a:solidFill>
                <a:effectLst/>
                <a:uLnTx/>
                <a:uFillTx/>
                <a:latin typeface="Montserrat Light" charset="0"/>
                <a:ea typeface="ＭＳ Ｐゴシック" charset="0"/>
                <a:cs typeface="Arial" pitchFamily="34" charset="0"/>
              </a:rPr>
              <a:t>game”, prioritise</a:t>
            </a:r>
            <a:r>
              <a:rPr kumimoji="0" lang="en-US" sz="1200" b="1" i="0" u="none" strike="noStrike" kern="1200" cap="none" spc="0" normalizeH="0" noProof="0" dirty="0" smtClean="0">
                <a:ln>
                  <a:noFill/>
                </a:ln>
                <a:solidFill>
                  <a:prstClr val="black"/>
                </a:solidFill>
                <a:effectLst/>
                <a:uLnTx/>
                <a:uFillTx/>
                <a:latin typeface="Montserrat Light" charset="0"/>
                <a:ea typeface="ＭＳ Ｐゴシック" charset="0"/>
                <a:cs typeface="Arial" pitchFamily="34" charset="0"/>
              </a:rPr>
              <a:t> locally</a:t>
            </a:r>
            <a:endParaRPr kumimoji="0" lang="en-US" sz="1200" b="1" i="0" u="none" strike="noStrike" kern="1200" cap="none" spc="0" normalizeH="0" baseline="0" noProof="0" dirty="0">
              <a:ln>
                <a:noFill/>
              </a:ln>
              <a:solidFill>
                <a:prstClr val="black"/>
              </a:solidFill>
              <a:effectLst/>
              <a:uLnTx/>
              <a:uFillTx/>
              <a:latin typeface="Montserrat Light" charset="0"/>
              <a:ea typeface="ＭＳ Ｐゴシック" charset="0"/>
              <a:cs typeface="Arial" pitchFamily="34" charset="0"/>
            </a:endParaRPr>
          </a:p>
        </p:txBody>
      </p:sp>
      <p:cxnSp>
        <p:nvCxnSpPr>
          <p:cNvPr id="107" name="Straight Connector 106"/>
          <p:cNvCxnSpPr>
            <a:cxnSpLocks/>
          </p:cNvCxnSpPr>
          <p:nvPr/>
        </p:nvCxnSpPr>
        <p:spPr>
          <a:xfrm>
            <a:off x="2492933" y="1783259"/>
            <a:ext cx="366065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p:nvPicPr>
        <p:blipFill>
          <a:blip r:embed="rId7"/>
          <a:stretch>
            <a:fillRect/>
          </a:stretch>
        </p:blipFill>
        <p:spPr>
          <a:xfrm>
            <a:off x="2693709" y="4955229"/>
            <a:ext cx="180899" cy="196240"/>
          </a:xfrm>
          <a:prstGeom prst="rect">
            <a:avLst/>
          </a:prstGeom>
        </p:spPr>
      </p:pic>
      <p:pic>
        <p:nvPicPr>
          <p:cNvPr id="12" name="Picture 11"/>
          <p:cNvPicPr>
            <a:picLocks noChangeAspect="1"/>
          </p:cNvPicPr>
          <p:nvPr/>
        </p:nvPicPr>
        <p:blipFill>
          <a:blip r:embed="rId8"/>
          <a:stretch>
            <a:fillRect/>
          </a:stretch>
        </p:blipFill>
        <p:spPr>
          <a:xfrm>
            <a:off x="2693709" y="5201853"/>
            <a:ext cx="180899" cy="196240"/>
          </a:xfrm>
          <a:prstGeom prst="rect">
            <a:avLst/>
          </a:prstGeom>
        </p:spPr>
      </p:pic>
      <p:sp>
        <p:nvSpPr>
          <p:cNvPr id="119" name="TextBox 118"/>
          <p:cNvSpPr txBox="1">
            <a:spLocks/>
          </p:cNvSpPr>
          <p:nvPr/>
        </p:nvSpPr>
        <p:spPr>
          <a:xfrm>
            <a:off x="4791485" y="3599370"/>
            <a:ext cx="1089395" cy="369332"/>
          </a:xfrm>
          <a:prstGeom prst="rect">
            <a:avLst/>
          </a:prstGeom>
          <a:noFill/>
        </p:spPr>
        <p:txBody>
          <a:bodyPr wrap="square" lIns="0" tIns="0" rIns="0" bIns="0" rtlCol="0">
            <a:spAutoFit/>
          </a:bodyPr>
          <a:lstStyle/>
          <a:p>
            <a:pPr marL="0" marR="0" lvl="0" indent="0" algn="ctr" defTabSz="1219170" rtl="0" eaLnBrk="1" fontAlgn="base" latinLnBrk="0" hangingPunct="1">
              <a:lnSpc>
                <a:spcPct val="100000"/>
              </a:lnSpc>
              <a:spcAft>
                <a:spcPct val="0"/>
              </a:spcAft>
              <a:buClr>
                <a:prstClr val="black"/>
              </a:buClr>
              <a:buSzTx/>
              <a:buFontTx/>
              <a:buNone/>
              <a:tabLst/>
              <a:defRPr/>
            </a:pPr>
            <a:r>
              <a:rPr lang="en-US" sz="1200" b="1" dirty="0" smtClean="0">
                <a:solidFill>
                  <a:schemeClr val="bg1"/>
                </a:solidFill>
                <a:latin typeface="Montserrat Light" charset="0"/>
                <a:ea typeface="ＭＳ Ｐゴシック" charset="0"/>
                <a:cs typeface="Arial" pitchFamily="34" charset="0"/>
              </a:rPr>
              <a:t>Local </a:t>
            </a:r>
          </a:p>
          <a:p>
            <a:pPr marL="0" marR="0" lvl="0" indent="0" algn="ctr" defTabSz="1219170" rtl="0" eaLnBrk="1" fontAlgn="base" latinLnBrk="0" hangingPunct="1">
              <a:lnSpc>
                <a:spcPct val="100000"/>
              </a:lnSpc>
              <a:spcAft>
                <a:spcPct val="0"/>
              </a:spcAft>
              <a:buClr>
                <a:prstClr val="black"/>
              </a:buClr>
              <a:buSzTx/>
              <a:buFontTx/>
              <a:buNone/>
              <a:tabLst/>
              <a:defRPr/>
            </a:pPr>
            <a:r>
              <a:rPr kumimoji="0" lang="en-US" sz="1200" b="1" i="0" u="none" strike="noStrike" kern="1200" cap="none" spc="0" normalizeH="0" baseline="0" noProof="0" dirty="0" smtClean="0">
                <a:ln>
                  <a:noFill/>
                </a:ln>
                <a:solidFill>
                  <a:schemeClr val="bg1"/>
                </a:solidFill>
                <a:effectLst/>
                <a:uLnTx/>
                <a:uFillTx/>
                <a:latin typeface="Montserrat Light" charset="0"/>
                <a:ea typeface="ＭＳ Ｐゴシック" charset="0"/>
                <a:cs typeface="Arial" pitchFamily="34" charset="0"/>
              </a:rPr>
              <a:t>prioritisation</a:t>
            </a:r>
            <a:endParaRPr kumimoji="0" lang="en-US" sz="1200" b="1" i="0" u="none" strike="noStrike" kern="1200" cap="none" spc="0" normalizeH="0" baseline="0" noProof="0" dirty="0">
              <a:ln>
                <a:noFill/>
              </a:ln>
              <a:solidFill>
                <a:schemeClr val="bg1"/>
              </a:solidFill>
              <a:effectLst/>
              <a:uLnTx/>
              <a:uFillTx/>
              <a:latin typeface="Montserrat Light" charset="0"/>
              <a:ea typeface="ＭＳ Ｐゴシック" charset="0"/>
              <a:cs typeface="Arial" pitchFamily="34" charset="0"/>
            </a:endParaRPr>
          </a:p>
        </p:txBody>
      </p:sp>
      <p:cxnSp>
        <p:nvCxnSpPr>
          <p:cNvPr id="171" name="Elbow Connector 170"/>
          <p:cNvCxnSpPr>
            <a:stCxn id="124" idx="3"/>
            <a:endCxn id="158" idx="1"/>
          </p:cNvCxnSpPr>
          <p:nvPr/>
        </p:nvCxnSpPr>
        <p:spPr>
          <a:xfrm flipV="1">
            <a:off x="2287888" y="3867255"/>
            <a:ext cx="245701" cy="1586912"/>
          </a:xfrm>
          <a:prstGeom prst="bentConnector3">
            <a:avLst>
              <a:gd name="adj1" fmla="val 50000"/>
            </a:avLst>
          </a:prstGeom>
          <a:ln w="28575">
            <a:solidFill>
              <a:srgbClr val="425968"/>
            </a:solidFill>
            <a:tailEnd type="triangle"/>
          </a:ln>
        </p:spPr>
        <p:style>
          <a:lnRef idx="1">
            <a:schemeClr val="accent1"/>
          </a:lnRef>
          <a:fillRef idx="0">
            <a:schemeClr val="accent1"/>
          </a:fillRef>
          <a:effectRef idx="0">
            <a:schemeClr val="accent1"/>
          </a:effectRef>
          <a:fontRef idx="minor">
            <a:schemeClr val="tx1"/>
          </a:fontRef>
        </p:style>
      </p:cxnSp>
      <p:grpSp>
        <p:nvGrpSpPr>
          <p:cNvPr id="230" name="Group 229"/>
          <p:cNvGrpSpPr/>
          <p:nvPr/>
        </p:nvGrpSpPr>
        <p:grpSpPr>
          <a:xfrm>
            <a:off x="2533589" y="2702935"/>
            <a:ext cx="1961826" cy="615448"/>
            <a:chOff x="2533589" y="2702935"/>
            <a:chExt cx="1961826" cy="615448"/>
          </a:xfrm>
        </p:grpSpPr>
        <p:sp>
          <p:nvSpPr>
            <p:cNvPr id="149" name="TextBox 148"/>
            <p:cNvSpPr txBox="1">
              <a:spLocks/>
            </p:cNvSpPr>
            <p:nvPr/>
          </p:nvSpPr>
          <p:spPr>
            <a:xfrm>
              <a:off x="2533589" y="2702935"/>
              <a:ext cx="1961826" cy="615448"/>
            </a:xfrm>
            <a:prstGeom prst="rect">
              <a:avLst/>
            </a:prstGeom>
            <a:solidFill>
              <a:schemeClr val="bg1"/>
            </a:solidFill>
            <a:ln>
              <a:solidFill>
                <a:schemeClr val="tx2"/>
              </a:solidFill>
            </a:ln>
          </p:spPr>
          <p:txBody>
            <a:bodyPr wrap="none" lIns="72000" tIns="72000" rIns="72000" bIns="72000" rtlCol="0" anchor="t">
              <a:noAutofit/>
            </a:bodyPr>
            <a:lstStyle/>
            <a:p>
              <a:pPr marL="0" marR="0" lvl="0" indent="0" algn="l" defTabSz="1219170" rtl="0" eaLnBrk="1" fontAlgn="base" latinLnBrk="0" hangingPunct="1">
                <a:lnSpc>
                  <a:spcPct val="100000"/>
                </a:lnSpc>
                <a:spcBef>
                  <a:spcPts val="600"/>
                </a:spcBef>
                <a:spcAft>
                  <a:spcPct val="0"/>
                </a:spcAft>
                <a:buClr>
                  <a:prstClr val="black"/>
                </a:buClr>
                <a:buSzTx/>
                <a:buFontTx/>
                <a:buNone/>
                <a:tabLst/>
                <a:defRPr/>
              </a:pPr>
              <a:r>
                <a:rPr kumimoji="0" lang="en-US" sz="1200" b="1" i="0" u="none" strike="noStrike" kern="1200" cap="none" spc="0" normalizeH="0" baseline="0" noProof="0" dirty="0" smtClean="0">
                  <a:ln>
                    <a:noFill/>
                  </a:ln>
                  <a:solidFill>
                    <a:prstClr val="black"/>
                  </a:solidFill>
                  <a:effectLst/>
                  <a:uLnTx/>
                  <a:uFillTx/>
                  <a:latin typeface="Montserrat Light" charset="0"/>
                  <a:ea typeface="ＭＳ Ｐゴシック" charset="0"/>
                  <a:cs typeface="Arial" pitchFamily="34" charset="0"/>
                </a:rPr>
                <a:t>Block out periods</a:t>
              </a:r>
              <a:endParaRPr kumimoji="0" lang="en-US" sz="1200" b="1" i="0" u="none" strike="noStrike" kern="1200" cap="none" spc="0" normalizeH="0" baseline="0" noProof="0" dirty="0">
                <a:ln>
                  <a:noFill/>
                </a:ln>
                <a:solidFill>
                  <a:prstClr val="black"/>
                </a:solidFill>
                <a:effectLst/>
                <a:uLnTx/>
                <a:uFillTx/>
                <a:latin typeface="Montserrat Light" charset="0"/>
                <a:ea typeface="ＭＳ Ｐゴシック" charset="0"/>
                <a:cs typeface="Arial" pitchFamily="34" charset="0"/>
              </a:endParaRPr>
            </a:p>
          </p:txBody>
        </p:sp>
        <p:sp>
          <p:nvSpPr>
            <p:cNvPr id="130" name="Rectangle 129"/>
            <p:cNvSpPr/>
            <p:nvPr/>
          </p:nvSpPr>
          <p:spPr>
            <a:xfrm>
              <a:off x="3974410" y="2988461"/>
              <a:ext cx="384152" cy="20065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smtClean="0">
                  <a:ln>
                    <a:noFill/>
                  </a:ln>
                  <a:solidFill>
                    <a:schemeClr val="tx1"/>
                  </a:solidFill>
                  <a:effectLst/>
                  <a:uLnTx/>
                  <a:uFillTx/>
                  <a:latin typeface="Arial" panose="020B0604020202020204" pitchFamily="34" charset="0"/>
                  <a:ea typeface="+mn-ea"/>
                  <a:cs typeface="+mn-cs"/>
                </a:rPr>
                <a:t>T4</a:t>
              </a:r>
              <a:endParaRPr kumimoji="0" lang="en-AU" sz="1400" b="0" i="0" u="none" strike="noStrike" kern="1200" cap="none" spc="0" normalizeH="0" baseline="0" noProof="0" dirty="0" smtClean="0">
                <a:ln>
                  <a:noFill/>
                </a:ln>
                <a:solidFill>
                  <a:schemeClr val="tx1"/>
                </a:solidFill>
                <a:effectLst/>
                <a:uLnTx/>
                <a:uFillTx/>
                <a:latin typeface="Arial" panose="020B0604020202020204" pitchFamily="34" charset="0"/>
                <a:ea typeface="+mn-ea"/>
                <a:cs typeface="+mn-cs"/>
              </a:endParaRPr>
            </a:p>
          </p:txBody>
        </p:sp>
        <p:sp>
          <p:nvSpPr>
            <p:cNvPr id="139" name="Rectangle 138"/>
            <p:cNvSpPr/>
            <p:nvPr/>
          </p:nvSpPr>
          <p:spPr>
            <a:xfrm>
              <a:off x="3525941" y="2988461"/>
              <a:ext cx="384152" cy="20065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mn-cs"/>
                </a:rPr>
                <a:t>T3</a:t>
              </a:r>
              <a:endParaRPr kumimoji="0" lang="en-AU" sz="14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mn-cs"/>
              </a:endParaRPr>
            </a:p>
          </p:txBody>
        </p:sp>
        <p:sp>
          <p:nvSpPr>
            <p:cNvPr id="140" name="Rectangle 139"/>
            <p:cNvSpPr/>
            <p:nvPr/>
          </p:nvSpPr>
          <p:spPr>
            <a:xfrm>
              <a:off x="3077472" y="2988461"/>
              <a:ext cx="384152" cy="20065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mn-cs"/>
                </a:rPr>
                <a:t>T2</a:t>
              </a:r>
              <a:endParaRPr kumimoji="0" lang="en-AU" sz="14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mn-cs"/>
              </a:endParaRPr>
            </a:p>
          </p:txBody>
        </p:sp>
        <p:sp>
          <p:nvSpPr>
            <p:cNvPr id="147" name="Rectangle 146"/>
            <p:cNvSpPr/>
            <p:nvPr/>
          </p:nvSpPr>
          <p:spPr>
            <a:xfrm>
              <a:off x="2629004" y="2988461"/>
              <a:ext cx="384152" cy="20065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smtClean="0">
                  <a:ln>
                    <a:noFill/>
                  </a:ln>
                  <a:solidFill>
                    <a:schemeClr val="tx1"/>
                  </a:solidFill>
                  <a:effectLst/>
                  <a:uLnTx/>
                  <a:uFillTx/>
                  <a:latin typeface="Arial" panose="020B0604020202020204" pitchFamily="34" charset="0"/>
                  <a:ea typeface="+mn-ea"/>
                  <a:cs typeface="+mn-cs"/>
                </a:rPr>
                <a:t>T1</a:t>
              </a:r>
              <a:endParaRPr kumimoji="0" lang="en-AU" sz="1400" b="0" i="0" u="none" strike="noStrike" kern="1200" cap="none" spc="0" normalizeH="0" baseline="0" noProof="0" dirty="0" smtClean="0">
                <a:ln>
                  <a:noFill/>
                </a:ln>
                <a:solidFill>
                  <a:schemeClr val="tx1"/>
                </a:solidFill>
                <a:effectLst/>
                <a:uLnTx/>
                <a:uFillTx/>
                <a:latin typeface="Arial" panose="020B0604020202020204" pitchFamily="34" charset="0"/>
                <a:ea typeface="+mn-ea"/>
                <a:cs typeface="+mn-cs"/>
              </a:endParaRPr>
            </a:p>
          </p:txBody>
        </p:sp>
        <p:sp>
          <p:nvSpPr>
            <p:cNvPr id="129" name="Rectangle 128"/>
            <p:cNvSpPr/>
            <p:nvPr/>
          </p:nvSpPr>
          <p:spPr>
            <a:xfrm>
              <a:off x="2629004" y="2988461"/>
              <a:ext cx="179210" cy="200658"/>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smtClean="0">
                  <a:ln>
                    <a:noFill/>
                  </a:ln>
                  <a:solidFill>
                    <a:schemeClr val="bg1"/>
                  </a:solidFill>
                  <a:effectLst/>
                  <a:uLnTx/>
                  <a:uFillTx/>
                  <a:latin typeface="Arial" panose="020B0604020202020204" pitchFamily="34" charset="0"/>
                  <a:ea typeface="+mn-ea"/>
                  <a:cs typeface="+mn-cs"/>
                </a:rPr>
                <a:t>T</a:t>
              </a:r>
              <a:endParaRPr kumimoji="0" lang="en-AU" sz="1400" b="0" i="0" u="none" strike="noStrike" kern="1200" cap="none" spc="0" normalizeH="0" baseline="0" noProof="0" dirty="0" smtClean="0">
                <a:ln>
                  <a:noFill/>
                </a:ln>
                <a:solidFill>
                  <a:schemeClr val="bg1"/>
                </a:solidFill>
                <a:effectLst/>
                <a:uLnTx/>
                <a:uFillTx/>
                <a:latin typeface="Arial" panose="020B0604020202020204" pitchFamily="34" charset="0"/>
                <a:ea typeface="+mn-ea"/>
                <a:cs typeface="+mn-cs"/>
              </a:endParaRPr>
            </a:p>
          </p:txBody>
        </p:sp>
        <p:sp>
          <p:nvSpPr>
            <p:cNvPr id="132" name="Rectangle 131"/>
            <p:cNvSpPr/>
            <p:nvPr/>
          </p:nvSpPr>
          <p:spPr>
            <a:xfrm>
              <a:off x="4179352" y="2988461"/>
              <a:ext cx="179210" cy="200658"/>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smtClean="0">
                  <a:ln>
                    <a:noFill/>
                  </a:ln>
                  <a:solidFill>
                    <a:schemeClr val="bg1"/>
                  </a:solidFill>
                  <a:effectLst/>
                  <a:uLnTx/>
                  <a:uFillTx/>
                  <a:latin typeface="Arial" panose="020B0604020202020204" pitchFamily="34" charset="0"/>
                  <a:ea typeface="+mn-ea"/>
                  <a:cs typeface="+mn-cs"/>
                </a:rPr>
                <a:t>4</a:t>
              </a:r>
            </a:p>
          </p:txBody>
        </p:sp>
      </p:grpSp>
    </p:spTree>
    <p:extLst>
      <p:ext uri="{BB962C8B-B14F-4D97-AF65-F5344CB8AC3E}">
        <p14:creationId xmlns:p14="http://schemas.microsoft.com/office/powerpoint/2010/main" val="398392202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9066" y="608426"/>
            <a:ext cx="11024542" cy="662517"/>
          </a:xfrm>
        </p:spPr>
        <p:txBody>
          <a:bodyPr/>
          <a:lstStyle/>
          <a:p>
            <a:r>
              <a:rPr lang="en-AU" dirty="0" smtClean="0"/>
              <a:t>Proposed gateways</a:t>
            </a:r>
            <a:endParaRPr lang="en-AU" dirty="0"/>
          </a:p>
        </p:txBody>
      </p:sp>
      <p:sp>
        <p:nvSpPr>
          <p:cNvPr id="9" name="Rectangle 8"/>
          <p:cNvSpPr>
            <a:spLocks/>
          </p:cNvSpPr>
          <p:nvPr/>
        </p:nvSpPr>
        <p:spPr>
          <a:xfrm>
            <a:off x="2717930" y="1806104"/>
            <a:ext cx="3741409"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r>
              <a:rPr lang="en-IN" sz="1200" b="1" dirty="0">
                <a:solidFill>
                  <a:schemeClr val="tx1"/>
                </a:solidFill>
                <a:latin typeface="Calibri" panose="020F0502020204030204" pitchFamily="34" charset="0"/>
              </a:rPr>
              <a:t>Is it a school-centred </a:t>
            </a:r>
            <a:r>
              <a:rPr lang="en-IN" sz="1200" b="1" dirty="0" smtClean="0">
                <a:solidFill>
                  <a:schemeClr val="tx1"/>
                </a:solidFill>
                <a:latin typeface="Calibri" panose="020F0502020204030204" pitchFamily="34" charset="0"/>
              </a:rPr>
              <a:t>solution?</a:t>
            </a:r>
            <a:endParaRPr lang="en-IN" sz="1200" b="1" dirty="0">
              <a:solidFill>
                <a:schemeClr val="tx1"/>
              </a:solidFill>
              <a:latin typeface="Calibri" panose="020F0502020204030204" pitchFamily="34" charset="0"/>
            </a:endParaRPr>
          </a:p>
          <a:p>
            <a:endParaRPr lang="en-IN" sz="1200" b="1" spc="-38" dirty="0">
              <a:solidFill>
                <a:schemeClr val="tx1"/>
              </a:solidFill>
              <a:latin typeface="Calibri" panose="020F0502020204030204" pitchFamily="34" charset="0"/>
            </a:endParaRPr>
          </a:p>
        </p:txBody>
      </p:sp>
      <p:sp>
        <p:nvSpPr>
          <p:cNvPr id="10" name="Rectangle 9"/>
          <p:cNvSpPr>
            <a:spLocks/>
          </p:cNvSpPr>
          <p:nvPr/>
        </p:nvSpPr>
        <p:spPr>
          <a:xfrm>
            <a:off x="6503104" y="4510170"/>
            <a:ext cx="2992807" cy="9746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171450" indent="-171450">
              <a:spcBef>
                <a:spcPts val="75"/>
              </a:spcBef>
              <a:buFont typeface="Wingdings" panose="05000000000000000000" pitchFamily="2" charset="2"/>
              <a:buChar char="q"/>
            </a:pPr>
            <a:r>
              <a:rPr lang="en-IN" sz="1200" dirty="0" smtClean="0">
                <a:solidFill>
                  <a:schemeClr val="tx1"/>
                </a:solidFill>
                <a:latin typeface="Calibri" panose="020F0502020204030204" pitchFamily="34" charset="0"/>
              </a:rPr>
              <a:t>Did schools like it?</a:t>
            </a:r>
          </a:p>
          <a:p>
            <a:pPr marL="171450" indent="-171450">
              <a:spcBef>
                <a:spcPts val="75"/>
              </a:spcBef>
              <a:buFont typeface="Wingdings" panose="05000000000000000000" pitchFamily="2" charset="2"/>
              <a:buChar char="q"/>
            </a:pPr>
            <a:r>
              <a:rPr lang="en-IN" sz="1200" dirty="0" smtClean="0">
                <a:solidFill>
                  <a:schemeClr val="tx1"/>
                </a:solidFill>
                <a:latin typeface="Calibri" panose="020F0502020204030204" pitchFamily="34" charset="0"/>
              </a:rPr>
              <a:t>Did </a:t>
            </a:r>
            <a:r>
              <a:rPr lang="en-IN" sz="1200" dirty="0">
                <a:solidFill>
                  <a:schemeClr val="tx1"/>
                </a:solidFill>
                <a:latin typeface="Calibri" panose="020F0502020204030204" pitchFamily="34" charset="0"/>
              </a:rPr>
              <a:t>it save time?</a:t>
            </a:r>
          </a:p>
          <a:p>
            <a:pPr marL="171450" indent="-171450">
              <a:spcBef>
                <a:spcPts val="75"/>
              </a:spcBef>
              <a:buFont typeface="Wingdings" panose="05000000000000000000" pitchFamily="2" charset="2"/>
              <a:buChar char="q"/>
            </a:pPr>
            <a:r>
              <a:rPr lang="en-IN" sz="1200" dirty="0">
                <a:solidFill>
                  <a:schemeClr val="tx1"/>
                </a:solidFill>
                <a:latin typeface="Calibri" panose="020F0502020204030204" pitchFamily="34" charset="0"/>
              </a:rPr>
              <a:t>Did it meet design specs?</a:t>
            </a:r>
          </a:p>
          <a:p>
            <a:pPr marL="171450" indent="-171450">
              <a:spcBef>
                <a:spcPts val="75"/>
              </a:spcBef>
              <a:buFont typeface="Wingdings" panose="05000000000000000000" pitchFamily="2" charset="2"/>
              <a:buChar char="q"/>
            </a:pPr>
            <a:r>
              <a:rPr lang="en-IN" sz="1200" dirty="0">
                <a:solidFill>
                  <a:schemeClr val="tx1"/>
                </a:solidFill>
                <a:latin typeface="Calibri" panose="020F0502020204030204" pitchFamily="34" charset="0"/>
              </a:rPr>
              <a:t>Were there errors? </a:t>
            </a:r>
          </a:p>
          <a:p>
            <a:pPr marL="171450" indent="-171450">
              <a:spcBef>
                <a:spcPts val="75"/>
              </a:spcBef>
              <a:buFont typeface="Wingdings" panose="05000000000000000000" pitchFamily="2" charset="2"/>
              <a:buChar char="q"/>
            </a:pPr>
            <a:r>
              <a:rPr lang="en-IN" sz="1200" dirty="0">
                <a:solidFill>
                  <a:schemeClr val="tx1"/>
                </a:solidFill>
                <a:latin typeface="Calibri" panose="020F0502020204030204" pitchFamily="34" charset="0"/>
              </a:rPr>
              <a:t>How can it be simplified?</a:t>
            </a:r>
          </a:p>
        </p:txBody>
      </p:sp>
      <p:sp>
        <p:nvSpPr>
          <p:cNvPr id="14" name="Right Arrow 13"/>
          <p:cNvSpPr/>
          <p:nvPr/>
        </p:nvSpPr>
        <p:spPr>
          <a:xfrm>
            <a:off x="2322254" y="2994587"/>
            <a:ext cx="347634" cy="775381"/>
          </a:xfrm>
          <a:prstGeom prst="rightArrow">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Calibri" panose="020F0502020204030204" pitchFamily="34" charset="0"/>
            </a:endParaRPr>
          </a:p>
        </p:txBody>
      </p:sp>
      <p:sp>
        <p:nvSpPr>
          <p:cNvPr id="36" name="Freeform 47"/>
          <p:cNvSpPr>
            <a:spLocks/>
          </p:cNvSpPr>
          <p:nvPr/>
        </p:nvSpPr>
        <p:spPr bwMode="auto">
          <a:xfrm>
            <a:off x="4860509" y="3715939"/>
            <a:ext cx="291539" cy="48195"/>
          </a:xfrm>
          <a:custGeom>
            <a:avLst/>
            <a:gdLst>
              <a:gd name="T0" fmla="*/ 13 w 156"/>
              <a:gd name="T1" fmla="*/ 26 h 26"/>
              <a:gd name="T2" fmla="*/ 0 w 156"/>
              <a:gd name="T3" fmla="*/ 14 h 26"/>
              <a:gd name="T4" fmla="*/ 0 w 156"/>
              <a:gd name="T5" fmla="*/ 13 h 26"/>
              <a:gd name="T6" fmla="*/ 13 w 156"/>
              <a:gd name="T7" fmla="*/ 0 h 26"/>
              <a:gd name="T8" fmla="*/ 143 w 156"/>
              <a:gd name="T9" fmla="*/ 0 h 26"/>
              <a:gd name="T10" fmla="*/ 156 w 156"/>
              <a:gd name="T11" fmla="*/ 13 h 26"/>
              <a:gd name="T12" fmla="*/ 156 w 156"/>
              <a:gd name="T13" fmla="*/ 14 h 26"/>
              <a:gd name="T14" fmla="*/ 143 w 156"/>
              <a:gd name="T15" fmla="*/ 26 h 26"/>
              <a:gd name="T16" fmla="*/ 13 w 156"/>
              <a:gd name="T1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26">
                <a:moveTo>
                  <a:pt x="13" y="26"/>
                </a:moveTo>
                <a:cubicBezTo>
                  <a:pt x="6" y="26"/>
                  <a:pt x="0" y="21"/>
                  <a:pt x="0" y="14"/>
                </a:cubicBezTo>
                <a:cubicBezTo>
                  <a:pt x="0" y="13"/>
                  <a:pt x="0" y="13"/>
                  <a:pt x="0" y="13"/>
                </a:cubicBezTo>
                <a:cubicBezTo>
                  <a:pt x="0" y="6"/>
                  <a:pt x="6" y="0"/>
                  <a:pt x="13" y="0"/>
                </a:cubicBezTo>
                <a:cubicBezTo>
                  <a:pt x="143" y="0"/>
                  <a:pt x="143" y="0"/>
                  <a:pt x="143" y="0"/>
                </a:cubicBezTo>
                <a:cubicBezTo>
                  <a:pt x="150" y="0"/>
                  <a:pt x="156" y="6"/>
                  <a:pt x="156" y="13"/>
                </a:cubicBezTo>
                <a:cubicBezTo>
                  <a:pt x="156" y="14"/>
                  <a:pt x="156" y="14"/>
                  <a:pt x="156" y="14"/>
                </a:cubicBezTo>
                <a:cubicBezTo>
                  <a:pt x="156" y="21"/>
                  <a:pt x="150" y="26"/>
                  <a:pt x="143" y="26"/>
                </a:cubicBezTo>
                <a:lnTo>
                  <a:pt x="13"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E" sz="1600">
              <a:latin typeface="Calibri" panose="020F0502020204030204" pitchFamily="34" charset="0"/>
            </a:endParaRPr>
          </a:p>
        </p:txBody>
      </p:sp>
      <p:pic>
        <p:nvPicPr>
          <p:cNvPr id="37" name="Picture 36"/>
          <p:cNvPicPr>
            <a:picLocks noChangeAspect="1"/>
          </p:cNvPicPr>
          <p:nvPr/>
        </p:nvPicPr>
        <p:blipFill>
          <a:blip r:embed="rId2"/>
          <a:stretch>
            <a:fillRect/>
          </a:stretch>
        </p:blipFill>
        <p:spPr>
          <a:xfrm>
            <a:off x="4153976" y="2985501"/>
            <a:ext cx="773233" cy="773233"/>
          </a:xfrm>
          <a:prstGeom prst="rect">
            <a:avLst/>
          </a:prstGeom>
        </p:spPr>
      </p:pic>
      <p:pic>
        <p:nvPicPr>
          <p:cNvPr id="38" name="Picture 3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6973" y="2785384"/>
            <a:ext cx="904557" cy="904557"/>
          </a:xfrm>
          <a:prstGeom prst="rect">
            <a:avLst/>
          </a:prstGeom>
        </p:spPr>
      </p:pic>
      <p:sp>
        <p:nvSpPr>
          <p:cNvPr id="11" name="Rectangle 10"/>
          <p:cNvSpPr>
            <a:spLocks/>
          </p:cNvSpPr>
          <p:nvPr/>
        </p:nvSpPr>
        <p:spPr>
          <a:xfrm>
            <a:off x="7449152" y="2094253"/>
            <a:ext cx="693927" cy="2000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ctr"/>
            <a:r>
              <a:rPr lang="en-IN" sz="1050" b="1" dirty="0">
                <a:solidFill>
                  <a:schemeClr val="tx1"/>
                </a:solidFill>
                <a:latin typeface="Calibri" panose="020F0502020204030204" pitchFamily="34" charset="0"/>
              </a:rPr>
              <a:t>Prototype</a:t>
            </a:r>
          </a:p>
        </p:txBody>
      </p:sp>
      <p:sp>
        <p:nvSpPr>
          <p:cNvPr id="12" name="Rectangle 11"/>
          <p:cNvSpPr>
            <a:spLocks/>
          </p:cNvSpPr>
          <p:nvPr/>
        </p:nvSpPr>
        <p:spPr>
          <a:xfrm>
            <a:off x="8982786" y="3115127"/>
            <a:ext cx="235642" cy="2000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spAutoFit/>
          </a:bodyPr>
          <a:lstStyle/>
          <a:p>
            <a:r>
              <a:rPr lang="en-IN" sz="1050" b="1" dirty="0">
                <a:solidFill>
                  <a:schemeClr val="tx1"/>
                </a:solidFill>
                <a:latin typeface="Calibri" panose="020F0502020204030204" pitchFamily="34" charset="0"/>
              </a:rPr>
              <a:t>Test</a:t>
            </a:r>
          </a:p>
        </p:txBody>
      </p:sp>
      <p:sp>
        <p:nvSpPr>
          <p:cNvPr id="13" name="Rectangle 12"/>
          <p:cNvSpPr>
            <a:spLocks/>
          </p:cNvSpPr>
          <p:nvPr/>
        </p:nvSpPr>
        <p:spPr>
          <a:xfrm>
            <a:off x="7447626" y="3726096"/>
            <a:ext cx="654686" cy="4001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ctr"/>
            <a:r>
              <a:rPr lang="en-IN" sz="1050" b="1" dirty="0">
                <a:solidFill>
                  <a:schemeClr val="tx1"/>
                </a:solidFill>
                <a:latin typeface="Calibri" panose="020F0502020204030204" pitchFamily="34" charset="0"/>
              </a:rPr>
              <a:t>Feedback &amp; assessment</a:t>
            </a:r>
          </a:p>
        </p:txBody>
      </p:sp>
      <p:sp>
        <p:nvSpPr>
          <p:cNvPr id="21" name="Freeform 44"/>
          <p:cNvSpPr>
            <a:spLocks noEditPoints="1"/>
          </p:cNvSpPr>
          <p:nvPr/>
        </p:nvSpPr>
        <p:spPr bwMode="auto">
          <a:xfrm>
            <a:off x="7359324" y="2508535"/>
            <a:ext cx="693927" cy="454536"/>
          </a:xfrm>
          <a:custGeom>
            <a:avLst/>
            <a:gdLst>
              <a:gd name="T0" fmla="*/ 1857 w 1913"/>
              <a:gd name="T1" fmla="*/ 1329 h 1583"/>
              <a:gd name="T2" fmla="*/ 1714 w 1913"/>
              <a:gd name="T3" fmla="*/ 1092 h 1583"/>
              <a:gd name="T4" fmla="*/ 1704 w 1913"/>
              <a:gd name="T5" fmla="*/ 1055 h 1583"/>
              <a:gd name="T6" fmla="*/ 1704 w 1913"/>
              <a:gd name="T7" fmla="*/ 176 h 1583"/>
              <a:gd name="T8" fmla="*/ 1544 w 1913"/>
              <a:gd name="T9" fmla="*/ 0 h 1583"/>
              <a:gd name="T10" fmla="*/ 364 w 1913"/>
              <a:gd name="T11" fmla="*/ 0 h 1583"/>
              <a:gd name="T12" fmla="*/ 316 w 1913"/>
              <a:gd name="T13" fmla="*/ 6 h 1583"/>
              <a:gd name="T14" fmla="*/ 202 w 1913"/>
              <a:gd name="T15" fmla="*/ 175 h 1583"/>
              <a:gd name="T16" fmla="*/ 202 w 1913"/>
              <a:gd name="T17" fmla="*/ 1055 h 1583"/>
              <a:gd name="T18" fmla="*/ 195 w 1913"/>
              <a:gd name="T19" fmla="*/ 1087 h 1583"/>
              <a:gd name="T20" fmla="*/ 49 w 1913"/>
              <a:gd name="T21" fmla="*/ 1329 h 1583"/>
              <a:gd name="T22" fmla="*/ 40 w 1913"/>
              <a:gd name="T23" fmla="*/ 1346 h 1583"/>
              <a:gd name="T24" fmla="*/ 182 w 1913"/>
              <a:gd name="T25" fmla="*/ 1581 h 1583"/>
              <a:gd name="T26" fmla="*/ 953 w 1913"/>
              <a:gd name="T27" fmla="*/ 1580 h 1583"/>
              <a:gd name="T28" fmla="*/ 953 w 1913"/>
              <a:gd name="T29" fmla="*/ 1581 h 1583"/>
              <a:gd name="T30" fmla="*/ 1623 w 1913"/>
              <a:gd name="T31" fmla="*/ 1580 h 1583"/>
              <a:gd name="T32" fmla="*/ 1762 w 1913"/>
              <a:gd name="T33" fmla="*/ 1576 h 1583"/>
              <a:gd name="T34" fmla="*/ 1857 w 1913"/>
              <a:gd name="T35" fmla="*/ 1329 h 1583"/>
              <a:gd name="T36" fmla="*/ 1181 w 1913"/>
              <a:gd name="T37" fmla="*/ 1314 h 1583"/>
              <a:gd name="T38" fmla="*/ 1157 w 1913"/>
              <a:gd name="T39" fmla="*/ 1328 h 1583"/>
              <a:gd name="T40" fmla="*/ 953 w 1913"/>
              <a:gd name="T41" fmla="*/ 1329 h 1583"/>
              <a:gd name="T42" fmla="*/ 754 w 1913"/>
              <a:gd name="T43" fmla="*/ 1329 h 1583"/>
              <a:gd name="T44" fmla="*/ 724 w 1913"/>
              <a:gd name="T45" fmla="*/ 1314 h 1583"/>
              <a:gd name="T46" fmla="*/ 732 w 1913"/>
              <a:gd name="T47" fmla="*/ 1280 h 1583"/>
              <a:gd name="T48" fmla="*/ 778 w 1913"/>
              <a:gd name="T49" fmla="*/ 1217 h 1583"/>
              <a:gd name="T50" fmla="*/ 807 w 1913"/>
              <a:gd name="T51" fmla="*/ 1202 h 1583"/>
              <a:gd name="T52" fmla="*/ 1101 w 1913"/>
              <a:gd name="T53" fmla="*/ 1202 h 1583"/>
              <a:gd name="T54" fmla="*/ 1129 w 1913"/>
              <a:gd name="T55" fmla="*/ 1217 h 1583"/>
              <a:gd name="T56" fmla="*/ 1177 w 1913"/>
              <a:gd name="T57" fmla="*/ 1284 h 1583"/>
              <a:gd name="T58" fmla="*/ 1181 w 1913"/>
              <a:gd name="T59" fmla="*/ 1314 h 1583"/>
              <a:gd name="T60" fmla="*/ 1532 w 1913"/>
              <a:gd name="T61" fmla="*/ 877 h 1583"/>
              <a:gd name="T62" fmla="*/ 1532 w 1913"/>
              <a:gd name="T63" fmla="*/ 976 h 1583"/>
              <a:gd name="T64" fmla="*/ 1498 w 1913"/>
              <a:gd name="T65" fmla="*/ 1012 h 1583"/>
              <a:gd name="T66" fmla="*/ 953 w 1913"/>
              <a:gd name="T67" fmla="*/ 1012 h 1583"/>
              <a:gd name="T68" fmla="*/ 411 w 1913"/>
              <a:gd name="T69" fmla="*/ 1012 h 1583"/>
              <a:gd name="T70" fmla="*/ 374 w 1913"/>
              <a:gd name="T71" fmla="*/ 971 h 1583"/>
              <a:gd name="T72" fmla="*/ 374 w 1913"/>
              <a:gd name="T73" fmla="*/ 234 h 1583"/>
              <a:gd name="T74" fmla="*/ 416 w 1913"/>
              <a:gd name="T75" fmla="*/ 188 h 1583"/>
              <a:gd name="T76" fmla="*/ 1491 w 1913"/>
              <a:gd name="T77" fmla="*/ 188 h 1583"/>
              <a:gd name="T78" fmla="*/ 1518 w 1913"/>
              <a:gd name="T79" fmla="*/ 193 h 1583"/>
              <a:gd name="T80" fmla="*/ 1531 w 1913"/>
              <a:gd name="T81" fmla="*/ 225 h 1583"/>
              <a:gd name="T82" fmla="*/ 1532 w 1913"/>
              <a:gd name="T83" fmla="*/ 877 h 1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13" h="1583">
                <a:moveTo>
                  <a:pt x="1857" y="1329"/>
                </a:moveTo>
                <a:cubicBezTo>
                  <a:pt x="1808" y="1251"/>
                  <a:pt x="1761" y="1171"/>
                  <a:pt x="1714" y="1092"/>
                </a:cubicBezTo>
                <a:cubicBezTo>
                  <a:pt x="1708" y="1082"/>
                  <a:pt x="1704" y="1068"/>
                  <a:pt x="1704" y="1055"/>
                </a:cubicBezTo>
                <a:cubicBezTo>
                  <a:pt x="1704" y="762"/>
                  <a:pt x="1704" y="469"/>
                  <a:pt x="1704" y="176"/>
                </a:cubicBezTo>
                <a:cubicBezTo>
                  <a:pt x="1704" y="73"/>
                  <a:pt x="1638" y="0"/>
                  <a:pt x="1544" y="0"/>
                </a:cubicBezTo>
                <a:cubicBezTo>
                  <a:pt x="1151" y="0"/>
                  <a:pt x="758" y="0"/>
                  <a:pt x="364" y="0"/>
                </a:cubicBezTo>
                <a:cubicBezTo>
                  <a:pt x="348" y="0"/>
                  <a:pt x="332" y="2"/>
                  <a:pt x="316" y="6"/>
                </a:cubicBezTo>
                <a:cubicBezTo>
                  <a:pt x="247" y="25"/>
                  <a:pt x="202" y="92"/>
                  <a:pt x="202" y="175"/>
                </a:cubicBezTo>
                <a:cubicBezTo>
                  <a:pt x="202" y="469"/>
                  <a:pt x="202" y="762"/>
                  <a:pt x="202" y="1055"/>
                </a:cubicBezTo>
                <a:cubicBezTo>
                  <a:pt x="202" y="1066"/>
                  <a:pt x="200" y="1078"/>
                  <a:pt x="195" y="1087"/>
                </a:cubicBezTo>
                <a:cubicBezTo>
                  <a:pt x="147" y="1168"/>
                  <a:pt x="98" y="1248"/>
                  <a:pt x="49" y="1329"/>
                </a:cubicBezTo>
                <a:cubicBezTo>
                  <a:pt x="46" y="1335"/>
                  <a:pt x="42" y="1340"/>
                  <a:pt x="40" y="1346"/>
                </a:cubicBezTo>
                <a:cubicBezTo>
                  <a:pt x="0" y="1472"/>
                  <a:pt x="68" y="1581"/>
                  <a:pt x="182" y="1581"/>
                </a:cubicBezTo>
                <a:cubicBezTo>
                  <a:pt x="439" y="1580"/>
                  <a:pt x="696" y="1580"/>
                  <a:pt x="953" y="1580"/>
                </a:cubicBezTo>
                <a:cubicBezTo>
                  <a:pt x="953" y="1581"/>
                  <a:pt x="953" y="1581"/>
                  <a:pt x="953" y="1581"/>
                </a:cubicBezTo>
                <a:cubicBezTo>
                  <a:pt x="1176" y="1581"/>
                  <a:pt x="1400" y="1581"/>
                  <a:pt x="1623" y="1580"/>
                </a:cubicBezTo>
                <a:cubicBezTo>
                  <a:pt x="1669" y="1580"/>
                  <a:pt x="1716" y="1583"/>
                  <a:pt x="1762" y="1576"/>
                </a:cubicBezTo>
                <a:cubicBezTo>
                  <a:pt x="1859" y="1562"/>
                  <a:pt x="1913" y="1417"/>
                  <a:pt x="1857" y="1329"/>
                </a:cubicBezTo>
                <a:close/>
                <a:moveTo>
                  <a:pt x="1181" y="1314"/>
                </a:moveTo>
                <a:cubicBezTo>
                  <a:pt x="1178" y="1321"/>
                  <a:pt x="1165" y="1328"/>
                  <a:pt x="1157" y="1328"/>
                </a:cubicBezTo>
                <a:cubicBezTo>
                  <a:pt x="1089" y="1329"/>
                  <a:pt x="1021" y="1329"/>
                  <a:pt x="953" y="1329"/>
                </a:cubicBezTo>
                <a:cubicBezTo>
                  <a:pt x="887" y="1329"/>
                  <a:pt x="821" y="1329"/>
                  <a:pt x="754" y="1329"/>
                </a:cubicBezTo>
                <a:cubicBezTo>
                  <a:pt x="742" y="1329"/>
                  <a:pt x="730" y="1328"/>
                  <a:pt x="724" y="1314"/>
                </a:cubicBezTo>
                <a:cubicBezTo>
                  <a:pt x="717" y="1300"/>
                  <a:pt x="725" y="1290"/>
                  <a:pt x="732" y="1280"/>
                </a:cubicBezTo>
                <a:cubicBezTo>
                  <a:pt x="747" y="1259"/>
                  <a:pt x="761" y="1237"/>
                  <a:pt x="778" y="1217"/>
                </a:cubicBezTo>
                <a:cubicBezTo>
                  <a:pt x="785" y="1209"/>
                  <a:pt x="797" y="1202"/>
                  <a:pt x="807" y="1202"/>
                </a:cubicBezTo>
                <a:cubicBezTo>
                  <a:pt x="905" y="1200"/>
                  <a:pt x="1003" y="1200"/>
                  <a:pt x="1101" y="1202"/>
                </a:cubicBezTo>
                <a:cubicBezTo>
                  <a:pt x="1110" y="1202"/>
                  <a:pt x="1122" y="1209"/>
                  <a:pt x="1129" y="1217"/>
                </a:cubicBezTo>
                <a:cubicBezTo>
                  <a:pt x="1146" y="1238"/>
                  <a:pt x="1162" y="1261"/>
                  <a:pt x="1177" y="1284"/>
                </a:cubicBezTo>
                <a:cubicBezTo>
                  <a:pt x="1182" y="1292"/>
                  <a:pt x="1185" y="1306"/>
                  <a:pt x="1181" y="1314"/>
                </a:cubicBezTo>
                <a:close/>
                <a:moveTo>
                  <a:pt x="1532" y="877"/>
                </a:moveTo>
                <a:cubicBezTo>
                  <a:pt x="1532" y="910"/>
                  <a:pt x="1532" y="943"/>
                  <a:pt x="1532" y="976"/>
                </a:cubicBezTo>
                <a:cubicBezTo>
                  <a:pt x="1532" y="1003"/>
                  <a:pt x="1523" y="1012"/>
                  <a:pt x="1498" y="1012"/>
                </a:cubicBezTo>
                <a:cubicBezTo>
                  <a:pt x="1316" y="1012"/>
                  <a:pt x="1135" y="1012"/>
                  <a:pt x="953" y="1012"/>
                </a:cubicBezTo>
                <a:cubicBezTo>
                  <a:pt x="772" y="1012"/>
                  <a:pt x="592" y="1012"/>
                  <a:pt x="411" y="1012"/>
                </a:cubicBezTo>
                <a:cubicBezTo>
                  <a:pt x="381" y="1012"/>
                  <a:pt x="374" y="1004"/>
                  <a:pt x="374" y="971"/>
                </a:cubicBezTo>
                <a:cubicBezTo>
                  <a:pt x="374" y="725"/>
                  <a:pt x="374" y="480"/>
                  <a:pt x="374" y="234"/>
                </a:cubicBezTo>
                <a:cubicBezTo>
                  <a:pt x="374" y="194"/>
                  <a:pt x="380" y="188"/>
                  <a:pt x="416" y="188"/>
                </a:cubicBezTo>
                <a:cubicBezTo>
                  <a:pt x="774" y="188"/>
                  <a:pt x="1132" y="188"/>
                  <a:pt x="1491" y="188"/>
                </a:cubicBezTo>
                <a:cubicBezTo>
                  <a:pt x="1500" y="188"/>
                  <a:pt x="1512" y="188"/>
                  <a:pt x="1518" y="193"/>
                </a:cubicBezTo>
                <a:cubicBezTo>
                  <a:pt x="1525" y="200"/>
                  <a:pt x="1531" y="214"/>
                  <a:pt x="1531" y="225"/>
                </a:cubicBezTo>
                <a:cubicBezTo>
                  <a:pt x="1532" y="442"/>
                  <a:pt x="1532" y="659"/>
                  <a:pt x="1532" y="87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E" sz="1600">
              <a:latin typeface="Calibri" panose="020F0502020204030204" pitchFamily="34" charset="0"/>
            </a:endParaRPr>
          </a:p>
        </p:txBody>
      </p:sp>
      <p:grpSp>
        <p:nvGrpSpPr>
          <p:cNvPr id="22" name="Group 21"/>
          <p:cNvGrpSpPr/>
          <p:nvPr/>
        </p:nvGrpSpPr>
        <p:grpSpPr>
          <a:xfrm>
            <a:off x="8358780" y="2956315"/>
            <a:ext cx="547039" cy="451590"/>
            <a:chOff x="3421708" y="4333668"/>
            <a:chExt cx="828862" cy="939530"/>
          </a:xfrm>
          <a:solidFill>
            <a:schemeClr val="tx1"/>
          </a:solidFill>
        </p:grpSpPr>
        <p:sp>
          <p:nvSpPr>
            <p:cNvPr id="23" name="Freeform 41"/>
            <p:cNvSpPr>
              <a:spLocks/>
            </p:cNvSpPr>
            <p:nvPr/>
          </p:nvSpPr>
          <p:spPr bwMode="auto">
            <a:xfrm>
              <a:off x="3788298" y="4840899"/>
              <a:ext cx="99140" cy="432299"/>
            </a:xfrm>
            <a:custGeom>
              <a:avLst/>
              <a:gdLst>
                <a:gd name="T0" fmla="*/ 149 w 149"/>
                <a:gd name="T1" fmla="*/ 576 h 649"/>
                <a:gd name="T2" fmla="*/ 75 w 149"/>
                <a:gd name="T3" fmla="*/ 649 h 649"/>
                <a:gd name="T4" fmla="*/ 0 w 149"/>
                <a:gd name="T5" fmla="*/ 576 h 649"/>
                <a:gd name="T6" fmla="*/ 0 w 149"/>
                <a:gd name="T7" fmla="*/ 73 h 649"/>
                <a:gd name="T8" fmla="*/ 75 w 149"/>
                <a:gd name="T9" fmla="*/ 0 h 649"/>
                <a:gd name="T10" fmla="*/ 149 w 149"/>
                <a:gd name="T11" fmla="*/ 73 h 649"/>
                <a:gd name="T12" fmla="*/ 149 w 149"/>
                <a:gd name="T13" fmla="*/ 576 h 649"/>
                <a:gd name="T14" fmla="*/ 149 w 149"/>
                <a:gd name="T15" fmla="*/ 576 h 6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 h="649">
                  <a:moveTo>
                    <a:pt x="149" y="576"/>
                  </a:moveTo>
                  <a:cubicBezTo>
                    <a:pt x="149" y="616"/>
                    <a:pt x="116" y="649"/>
                    <a:pt x="75" y="649"/>
                  </a:cubicBezTo>
                  <a:cubicBezTo>
                    <a:pt x="34" y="649"/>
                    <a:pt x="0" y="616"/>
                    <a:pt x="0" y="576"/>
                  </a:cubicBezTo>
                  <a:cubicBezTo>
                    <a:pt x="0" y="73"/>
                    <a:pt x="0" y="73"/>
                    <a:pt x="0" y="73"/>
                  </a:cubicBezTo>
                  <a:cubicBezTo>
                    <a:pt x="0" y="33"/>
                    <a:pt x="34" y="0"/>
                    <a:pt x="75" y="0"/>
                  </a:cubicBezTo>
                  <a:cubicBezTo>
                    <a:pt x="116" y="0"/>
                    <a:pt x="149" y="33"/>
                    <a:pt x="149" y="73"/>
                  </a:cubicBezTo>
                  <a:cubicBezTo>
                    <a:pt x="149" y="576"/>
                    <a:pt x="149" y="576"/>
                    <a:pt x="149" y="576"/>
                  </a:cubicBezTo>
                  <a:cubicBezTo>
                    <a:pt x="149" y="576"/>
                    <a:pt x="149" y="576"/>
                    <a:pt x="149" y="5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E" sz="1600">
                <a:latin typeface="Calibri" panose="020F0502020204030204" pitchFamily="34" charset="0"/>
              </a:endParaRPr>
            </a:p>
          </p:txBody>
        </p:sp>
        <p:sp>
          <p:nvSpPr>
            <p:cNvPr id="24" name="Freeform 42"/>
            <p:cNvSpPr>
              <a:spLocks/>
            </p:cNvSpPr>
            <p:nvPr/>
          </p:nvSpPr>
          <p:spPr bwMode="auto">
            <a:xfrm>
              <a:off x="3453987" y="4840899"/>
              <a:ext cx="433451" cy="138336"/>
            </a:xfrm>
            <a:custGeom>
              <a:avLst/>
              <a:gdLst>
                <a:gd name="T0" fmla="*/ 73 w 650"/>
                <a:gd name="T1" fmla="*/ 208 h 208"/>
                <a:gd name="T2" fmla="*/ 0 w 650"/>
                <a:gd name="T3" fmla="*/ 106 h 208"/>
                <a:gd name="T4" fmla="*/ 73 w 650"/>
                <a:gd name="T5" fmla="*/ 0 h 208"/>
                <a:gd name="T6" fmla="*/ 577 w 650"/>
                <a:gd name="T7" fmla="*/ 0 h 208"/>
                <a:gd name="T8" fmla="*/ 650 w 650"/>
                <a:gd name="T9" fmla="*/ 106 h 208"/>
                <a:gd name="T10" fmla="*/ 577 w 650"/>
                <a:gd name="T11" fmla="*/ 208 h 208"/>
                <a:gd name="T12" fmla="*/ 73 w 650"/>
                <a:gd name="T13" fmla="*/ 208 h 208"/>
                <a:gd name="T14" fmla="*/ 73 w 650"/>
                <a:gd name="T15" fmla="*/ 208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0" h="208">
                  <a:moveTo>
                    <a:pt x="73" y="208"/>
                  </a:moveTo>
                  <a:cubicBezTo>
                    <a:pt x="33" y="208"/>
                    <a:pt x="0" y="164"/>
                    <a:pt x="0" y="106"/>
                  </a:cubicBezTo>
                  <a:cubicBezTo>
                    <a:pt x="0" y="48"/>
                    <a:pt x="33" y="0"/>
                    <a:pt x="73" y="0"/>
                  </a:cubicBezTo>
                  <a:cubicBezTo>
                    <a:pt x="577" y="0"/>
                    <a:pt x="577" y="0"/>
                    <a:pt x="577" y="0"/>
                  </a:cubicBezTo>
                  <a:cubicBezTo>
                    <a:pt x="617" y="0"/>
                    <a:pt x="650" y="48"/>
                    <a:pt x="650" y="106"/>
                  </a:cubicBezTo>
                  <a:cubicBezTo>
                    <a:pt x="650" y="164"/>
                    <a:pt x="617" y="208"/>
                    <a:pt x="577" y="208"/>
                  </a:cubicBezTo>
                  <a:cubicBezTo>
                    <a:pt x="73" y="208"/>
                    <a:pt x="73" y="208"/>
                    <a:pt x="73" y="208"/>
                  </a:cubicBezTo>
                  <a:cubicBezTo>
                    <a:pt x="73" y="208"/>
                    <a:pt x="73" y="208"/>
                    <a:pt x="73"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E" sz="1600">
                <a:latin typeface="Calibri" panose="020F0502020204030204" pitchFamily="34" charset="0"/>
              </a:endParaRPr>
            </a:p>
          </p:txBody>
        </p:sp>
        <p:sp>
          <p:nvSpPr>
            <p:cNvPr id="25" name="Freeform 43"/>
            <p:cNvSpPr>
              <a:spLocks/>
            </p:cNvSpPr>
            <p:nvPr/>
          </p:nvSpPr>
          <p:spPr bwMode="auto">
            <a:xfrm>
              <a:off x="3421708" y="4545783"/>
              <a:ext cx="251310" cy="435757"/>
            </a:xfrm>
            <a:custGeom>
              <a:avLst/>
              <a:gdLst>
                <a:gd name="T0" fmla="*/ 224 w 377"/>
                <a:gd name="T1" fmla="*/ 600 h 654"/>
                <a:gd name="T2" fmla="*/ 99 w 377"/>
                <a:gd name="T3" fmla="*/ 637 h 654"/>
                <a:gd name="T4" fmla="*/ 14 w 377"/>
                <a:gd name="T5" fmla="*/ 538 h 654"/>
                <a:gd name="T6" fmla="*/ 152 w 377"/>
                <a:gd name="T7" fmla="*/ 57 h 654"/>
                <a:gd name="T8" fmla="*/ 278 w 377"/>
                <a:gd name="T9" fmla="*/ 16 h 654"/>
                <a:gd name="T10" fmla="*/ 367 w 377"/>
                <a:gd name="T11" fmla="*/ 117 h 654"/>
                <a:gd name="T12" fmla="*/ 224 w 377"/>
                <a:gd name="T13" fmla="*/ 600 h 654"/>
                <a:gd name="T14" fmla="*/ 224 w 377"/>
                <a:gd name="T15" fmla="*/ 600 h 6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7" h="654">
                  <a:moveTo>
                    <a:pt x="224" y="600"/>
                  </a:moveTo>
                  <a:cubicBezTo>
                    <a:pt x="214" y="639"/>
                    <a:pt x="159" y="654"/>
                    <a:pt x="99" y="637"/>
                  </a:cubicBezTo>
                  <a:cubicBezTo>
                    <a:pt x="39" y="620"/>
                    <a:pt x="0" y="576"/>
                    <a:pt x="14" y="538"/>
                  </a:cubicBezTo>
                  <a:cubicBezTo>
                    <a:pt x="152" y="57"/>
                    <a:pt x="152" y="57"/>
                    <a:pt x="152" y="57"/>
                  </a:cubicBezTo>
                  <a:cubicBezTo>
                    <a:pt x="165" y="19"/>
                    <a:pt x="222" y="0"/>
                    <a:pt x="278" y="16"/>
                  </a:cubicBezTo>
                  <a:cubicBezTo>
                    <a:pt x="338" y="33"/>
                    <a:pt x="377" y="78"/>
                    <a:pt x="367" y="117"/>
                  </a:cubicBezTo>
                  <a:cubicBezTo>
                    <a:pt x="224" y="600"/>
                    <a:pt x="224" y="600"/>
                    <a:pt x="224" y="600"/>
                  </a:cubicBezTo>
                  <a:cubicBezTo>
                    <a:pt x="224" y="600"/>
                    <a:pt x="224" y="600"/>
                    <a:pt x="224" y="6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E" sz="1600">
                <a:latin typeface="Calibri" panose="020F0502020204030204" pitchFamily="34" charset="0"/>
              </a:endParaRPr>
            </a:p>
          </p:txBody>
        </p:sp>
        <p:sp>
          <p:nvSpPr>
            <p:cNvPr id="26" name="Freeform 46"/>
            <p:cNvSpPr>
              <a:spLocks noEditPoints="1"/>
            </p:cNvSpPr>
            <p:nvPr/>
          </p:nvSpPr>
          <p:spPr bwMode="auto">
            <a:xfrm>
              <a:off x="3478196" y="4333668"/>
              <a:ext cx="772374" cy="507230"/>
            </a:xfrm>
            <a:custGeom>
              <a:avLst/>
              <a:gdLst>
                <a:gd name="T0" fmla="*/ 273 w 1159"/>
                <a:gd name="T1" fmla="*/ 0 h 760"/>
                <a:gd name="T2" fmla="*/ 414 w 1159"/>
                <a:gd name="T3" fmla="*/ 579 h 760"/>
                <a:gd name="T4" fmla="*/ 466 w 1159"/>
                <a:gd name="T5" fmla="*/ 585 h 760"/>
                <a:gd name="T6" fmla="*/ 585 w 1159"/>
                <a:gd name="T7" fmla="*/ 579 h 760"/>
                <a:gd name="T8" fmla="*/ 569 w 1159"/>
                <a:gd name="T9" fmla="*/ 546 h 760"/>
                <a:gd name="T10" fmla="*/ 526 w 1159"/>
                <a:gd name="T11" fmla="*/ 527 h 760"/>
                <a:gd name="T12" fmla="*/ 386 w 1159"/>
                <a:gd name="T13" fmla="*/ 527 h 760"/>
                <a:gd name="T14" fmla="*/ 633 w 1159"/>
                <a:gd name="T15" fmla="*/ 628 h 760"/>
                <a:gd name="T16" fmla="*/ 600 w 1159"/>
                <a:gd name="T17" fmla="*/ 625 h 760"/>
                <a:gd name="T18" fmla="*/ 484 w 1159"/>
                <a:gd name="T19" fmla="*/ 614 h 760"/>
                <a:gd name="T20" fmla="*/ 396 w 1159"/>
                <a:gd name="T21" fmla="*/ 606 h 760"/>
                <a:gd name="T22" fmla="*/ 331 w 1159"/>
                <a:gd name="T23" fmla="*/ 484 h 760"/>
                <a:gd name="T24" fmla="*/ 3 w 1159"/>
                <a:gd name="T25" fmla="*/ 711 h 760"/>
                <a:gd name="T26" fmla="*/ 244 w 1159"/>
                <a:gd name="T27" fmla="*/ 683 h 760"/>
                <a:gd name="T28" fmla="*/ 192 w 1159"/>
                <a:gd name="T29" fmla="*/ 541 h 760"/>
                <a:gd name="T30" fmla="*/ 265 w 1159"/>
                <a:gd name="T31" fmla="*/ 685 h 760"/>
                <a:gd name="T32" fmla="*/ 621 w 1159"/>
                <a:gd name="T33" fmla="*/ 760 h 760"/>
                <a:gd name="T34" fmla="*/ 688 w 1159"/>
                <a:gd name="T35" fmla="*/ 700 h 760"/>
                <a:gd name="T36" fmla="*/ 1136 w 1159"/>
                <a:gd name="T37" fmla="*/ 335 h 760"/>
                <a:gd name="T38" fmla="*/ 893 w 1159"/>
                <a:gd name="T39" fmla="*/ 231 h 760"/>
                <a:gd name="T40" fmla="*/ 881 w 1159"/>
                <a:gd name="T41" fmla="*/ 227 h 760"/>
                <a:gd name="T42" fmla="*/ 748 w 1159"/>
                <a:gd name="T43" fmla="*/ 530 h 760"/>
                <a:gd name="T44" fmla="*/ 946 w 1159"/>
                <a:gd name="T45" fmla="*/ 706 h 760"/>
                <a:gd name="T46" fmla="*/ 959 w 1159"/>
                <a:gd name="T47" fmla="*/ 713 h 760"/>
                <a:gd name="T48" fmla="*/ 1003 w 1159"/>
                <a:gd name="T49" fmla="*/ 698 h 760"/>
                <a:gd name="T50" fmla="*/ 956 w 1159"/>
                <a:gd name="T51" fmla="*/ 663 h 760"/>
                <a:gd name="T52" fmla="*/ 1093 w 1159"/>
                <a:gd name="T53" fmla="*/ 352 h 760"/>
                <a:gd name="T54" fmla="*/ 748 w 1159"/>
                <a:gd name="T55" fmla="*/ 541 h 760"/>
                <a:gd name="T56" fmla="*/ 603 w 1159"/>
                <a:gd name="T57" fmla="*/ 546 h 760"/>
                <a:gd name="T58" fmla="*/ 608 w 1159"/>
                <a:gd name="T59" fmla="*/ 557 h 760"/>
                <a:gd name="T60" fmla="*/ 623 w 1159"/>
                <a:gd name="T61" fmla="*/ 599 h 760"/>
                <a:gd name="T62" fmla="*/ 673 w 1159"/>
                <a:gd name="T63" fmla="*/ 616 h 760"/>
                <a:gd name="T64" fmla="*/ 711 w 1159"/>
                <a:gd name="T65" fmla="*/ 662 h 760"/>
                <a:gd name="T66" fmla="*/ 716 w 1159"/>
                <a:gd name="T67" fmla="*/ 692 h 760"/>
                <a:gd name="T68" fmla="*/ 721 w 1159"/>
                <a:gd name="T69" fmla="*/ 709 h 760"/>
                <a:gd name="T70" fmla="*/ 914 w 1159"/>
                <a:gd name="T71" fmla="*/ 760 h 760"/>
                <a:gd name="T72" fmla="*/ 922 w 1159"/>
                <a:gd name="T73" fmla="*/ 709 h 760"/>
                <a:gd name="T74" fmla="*/ 828 w 1159"/>
                <a:gd name="T75" fmla="*/ 675 h 760"/>
                <a:gd name="T76" fmla="*/ 817 w 1159"/>
                <a:gd name="T77" fmla="*/ 662 h 760"/>
                <a:gd name="T78" fmla="*/ 802 w 1159"/>
                <a:gd name="T79" fmla="*/ 646 h 760"/>
                <a:gd name="T80" fmla="*/ 789 w 1159"/>
                <a:gd name="T81" fmla="*/ 633 h 760"/>
                <a:gd name="T82" fmla="*/ 762 w 1159"/>
                <a:gd name="T83" fmla="*/ 603 h 760"/>
                <a:gd name="T84" fmla="*/ 740 w 1159"/>
                <a:gd name="T85" fmla="*/ 603 h 760"/>
                <a:gd name="T86" fmla="*/ 747 w 1159"/>
                <a:gd name="T87" fmla="*/ 587 h 760"/>
                <a:gd name="T88" fmla="*/ 735 w 1159"/>
                <a:gd name="T89" fmla="*/ 573 h 760"/>
                <a:gd name="T90" fmla="*/ 710 w 1159"/>
                <a:gd name="T91" fmla="*/ 546 h 760"/>
                <a:gd name="T92" fmla="*/ 691 w 1159"/>
                <a:gd name="T93" fmla="*/ 546 h 760"/>
                <a:gd name="T94" fmla="*/ 627 w 1159"/>
                <a:gd name="T95" fmla="*/ 587 h 760"/>
                <a:gd name="T96" fmla="*/ 648 w 1159"/>
                <a:gd name="T97" fmla="*/ 587 h 760"/>
                <a:gd name="T98" fmla="*/ 652 w 1159"/>
                <a:gd name="T99" fmla="*/ 557 h 760"/>
                <a:gd name="T100" fmla="*/ 672 w 1159"/>
                <a:gd name="T101" fmla="*/ 557 h 760"/>
                <a:gd name="T102" fmla="*/ 676 w 1159"/>
                <a:gd name="T103" fmla="*/ 587 h 760"/>
                <a:gd name="T104" fmla="*/ 698 w 1159"/>
                <a:gd name="T105" fmla="*/ 587 h 760"/>
                <a:gd name="T106" fmla="*/ 701 w 1159"/>
                <a:gd name="T107" fmla="*/ 616 h 760"/>
                <a:gd name="T108" fmla="*/ 723 w 1159"/>
                <a:gd name="T109" fmla="*/ 616 h 760"/>
                <a:gd name="T110" fmla="*/ 724 w 1159"/>
                <a:gd name="T111" fmla="*/ 646 h 760"/>
                <a:gd name="T112" fmla="*/ 749 w 1159"/>
                <a:gd name="T113" fmla="*/ 646 h 760"/>
                <a:gd name="T114" fmla="*/ 738 w 1159"/>
                <a:gd name="T115" fmla="*/ 662 h 760"/>
                <a:gd name="T116" fmla="*/ 749 w 1159"/>
                <a:gd name="T117" fmla="*/ 675 h 760"/>
                <a:gd name="T118" fmla="*/ 776 w 1159"/>
                <a:gd name="T119" fmla="*/ 709 h 760"/>
                <a:gd name="T120" fmla="*/ 804 w 1159"/>
                <a:gd name="T121" fmla="*/ 709 h 760"/>
                <a:gd name="T122" fmla="*/ 832 w 1159"/>
                <a:gd name="T123" fmla="*/ 709 h 760"/>
                <a:gd name="T124" fmla="*/ 859 w 1159"/>
                <a:gd name="T125" fmla="*/ 709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59" h="760">
                  <a:moveTo>
                    <a:pt x="273" y="293"/>
                  </a:moveTo>
                  <a:cubicBezTo>
                    <a:pt x="354" y="293"/>
                    <a:pt x="419" y="227"/>
                    <a:pt x="419" y="147"/>
                  </a:cubicBezTo>
                  <a:cubicBezTo>
                    <a:pt x="419" y="66"/>
                    <a:pt x="354" y="0"/>
                    <a:pt x="273" y="0"/>
                  </a:cubicBezTo>
                  <a:cubicBezTo>
                    <a:pt x="193" y="0"/>
                    <a:pt x="127" y="66"/>
                    <a:pt x="127" y="147"/>
                  </a:cubicBezTo>
                  <a:cubicBezTo>
                    <a:pt x="127" y="227"/>
                    <a:pt x="193" y="293"/>
                    <a:pt x="273" y="293"/>
                  </a:cubicBezTo>
                  <a:close/>
                  <a:moveTo>
                    <a:pt x="414" y="579"/>
                  </a:moveTo>
                  <a:cubicBezTo>
                    <a:pt x="444" y="583"/>
                    <a:pt x="444" y="583"/>
                    <a:pt x="444" y="583"/>
                  </a:cubicBezTo>
                  <a:cubicBezTo>
                    <a:pt x="455" y="584"/>
                    <a:pt x="455" y="584"/>
                    <a:pt x="455" y="584"/>
                  </a:cubicBezTo>
                  <a:cubicBezTo>
                    <a:pt x="466" y="585"/>
                    <a:pt x="466" y="585"/>
                    <a:pt x="466" y="585"/>
                  </a:cubicBezTo>
                  <a:cubicBezTo>
                    <a:pt x="584" y="595"/>
                    <a:pt x="584" y="595"/>
                    <a:pt x="584" y="595"/>
                  </a:cubicBezTo>
                  <a:cubicBezTo>
                    <a:pt x="584" y="595"/>
                    <a:pt x="584" y="595"/>
                    <a:pt x="584" y="595"/>
                  </a:cubicBezTo>
                  <a:cubicBezTo>
                    <a:pt x="585" y="589"/>
                    <a:pt x="585" y="585"/>
                    <a:pt x="585" y="579"/>
                  </a:cubicBezTo>
                  <a:cubicBezTo>
                    <a:pt x="585" y="577"/>
                    <a:pt x="584" y="575"/>
                    <a:pt x="584" y="573"/>
                  </a:cubicBezTo>
                  <a:cubicBezTo>
                    <a:pt x="581" y="563"/>
                    <a:pt x="576" y="554"/>
                    <a:pt x="569" y="546"/>
                  </a:cubicBezTo>
                  <a:cubicBezTo>
                    <a:pt x="569" y="546"/>
                    <a:pt x="569" y="546"/>
                    <a:pt x="569" y="546"/>
                  </a:cubicBezTo>
                  <a:cubicBezTo>
                    <a:pt x="561" y="538"/>
                    <a:pt x="552" y="532"/>
                    <a:pt x="542" y="529"/>
                  </a:cubicBezTo>
                  <a:cubicBezTo>
                    <a:pt x="538" y="528"/>
                    <a:pt x="532" y="527"/>
                    <a:pt x="527" y="527"/>
                  </a:cubicBezTo>
                  <a:cubicBezTo>
                    <a:pt x="526" y="527"/>
                    <a:pt x="526" y="527"/>
                    <a:pt x="526" y="527"/>
                  </a:cubicBezTo>
                  <a:cubicBezTo>
                    <a:pt x="456" y="527"/>
                    <a:pt x="456" y="527"/>
                    <a:pt x="456" y="527"/>
                  </a:cubicBezTo>
                  <a:cubicBezTo>
                    <a:pt x="443" y="527"/>
                    <a:pt x="443" y="527"/>
                    <a:pt x="443" y="527"/>
                  </a:cubicBezTo>
                  <a:cubicBezTo>
                    <a:pt x="386" y="527"/>
                    <a:pt x="386" y="527"/>
                    <a:pt x="386" y="527"/>
                  </a:cubicBezTo>
                  <a:cubicBezTo>
                    <a:pt x="414" y="579"/>
                    <a:pt x="414" y="579"/>
                    <a:pt x="414" y="579"/>
                  </a:cubicBezTo>
                  <a:cubicBezTo>
                    <a:pt x="414" y="579"/>
                    <a:pt x="414" y="579"/>
                    <a:pt x="414" y="579"/>
                  </a:cubicBezTo>
                  <a:close/>
                  <a:moveTo>
                    <a:pt x="633" y="628"/>
                  </a:moveTo>
                  <a:cubicBezTo>
                    <a:pt x="628" y="627"/>
                    <a:pt x="625" y="627"/>
                    <a:pt x="622" y="626"/>
                  </a:cubicBezTo>
                  <a:cubicBezTo>
                    <a:pt x="606" y="625"/>
                    <a:pt x="606" y="625"/>
                    <a:pt x="606" y="625"/>
                  </a:cubicBezTo>
                  <a:cubicBezTo>
                    <a:pt x="600" y="625"/>
                    <a:pt x="600" y="625"/>
                    <a:pt x="600" y="625"/>
                  </a:cubicBezTo>
                  <a:cubicBezTo>
                    <a:pt x="585" y="623"/>
                    <a:pt x="585" y="623"/>
                    <a:pt x="585" y="623"/>
                  </a:cubicBezTo>
                  <a:cubicBezTo>
                    <a:pt x="566" y="622"/>
                    <a:pt x="566" y="622"/>
                    <a:pt x="566" y="622"/>
                  </a:cubicBezTo>
                  <a:cubicBezTo>
                    <a:pt x="484" y="614"/>
                    <a:pt x="484" y="614"/>
                    <a:pt x="484" y="614"/>
                  </a:cubicBezTo>
                  <a:cubicBezTo>
                    <a:pt x="473" y="613"/>
                    <a:pt x="473" y="613"/>
                    <a:pt x="473" y="613"/>
                  </a:cubicBezTo>
                  <a:cubicBezTo>
                    <a:pt x="461" y="612"/>
                    <a:pt x="461" y="612"/>
                    <a:pt x="461" y="612"/>
                  </a:cubicBezTo>
                  <a:cubicBezTo>
                    <a:pt x="396" y="606"/>
                    <a:pt x="396" y="606"/>
                    <a:pt x="396" y="606"/>
                  </a:cubicBezTo>
                  <a:cubicBezTo>
                    <a:pt x="355" y="527"/>
                    <a:pt x="355" y="527"/>
                    <a:pt x="355" y="527"/>
                  </a:cubicBezTo>
                  <a:cubicBezTo>
                    <a:pt x="339" y="499"/>
                    <a:pt x="339" y="499"/>
                    <a:pt x="339" y="499"/>
                  </a:cubicBezTo>
                  <a:cubicBezTo>
                    <a:pt x="331" y="484"/>
                    <a:pt x="331" y="484"/>
                    <a:pt x="331" y="484"/>
                  </a:cubicBezTo>
                  <a:cubicBezTo>
                    <a:pt x="288" y="395"/>
                    <a:pt x="245" y="317"/>
                    <a:pt x="152" y="317"/>
                  </a:cubicBezTo>
                  <a:cubicBezTo>
                    <a:pt x="82" y="317"/>
                    <a:pt x="28" y="375"/>
                    <a:pt x="19" y="466"/>
                  </a:cubicBezTo>
                  <a:cubicBezTo>
                    <a:pt x="3" y="711"/>
                    <a:pt x="3" y="711"/>
                    <a:pt x="3" y="711"/>
                  </a:cubicBezTo>
                  <a:cubicBezTo>
                    <a:pt x="0" y="739"/>
                    <a:pt x="22" y="760"/>
                    <a:pt x="50" y="760"/>
                  </a:cubicBezTo>
                  <a:cubicBezTo>
                    <a:pt x="273" y="760"/>
                    <a:pt x="273" y="760"/>
                    <a:pt x="273" y="760"/>
                  </a:cubicBezTo>
                  <a:cubicBezTo>
                    <a:pt x="244" y="683"/>
                    <a:pt x="244" y="683"/>
                    <a:pt x="244" y="683"/>
                  </a:cubicBezTo>
                  <a:cubicBezTo>
                    <a:pt x="237" y="666"/>
                    <a:pt x="237" y="666"/>
                    <a:pt x="237" y="666"/>
                  </a:cubicBezTo>
                  <a:cubicBezTo>
                    <a:pt x="231" y="647"/>
                    <a:pt x="231" y="647"/>
                    <a:pt x="231" y="647"/>
                  </a:cubicBezTo>
                  <a:cubicBezTo>
                    <a:pt x="192" y="541"/>
                    <a:pt x="192" y="541"/>
                    <a:pt x="192" y="541"/>
                  </a:cubicBezTo>
                  <a:cubicBezTo>
                    <a:pt x="250" y="655"/>
                    <a:pt x="250" y="655"/>
                    <a:pt x="250" y="655"/>
                  </a:cubicBezTo>
                  <a:cubicBezTo>
                    <a:pt x="259" y="671"/>
                    <a:pt x="259" y="671"/>
                    <a:pt x="259" y="671"/>
                  </a:cubicBezTo>
                  <a:cubicBezTo>
                    <a:pt x="265" y="685"/>
                    <a:pt x="265" y="685"/>
                    <a:pt x="265" y="685"/>
                  </a:cubicBezTo>
                  <a:cubicBezTo>
                    <a:pt x="280" y="713"/>
                    <a:pt x="280" y="713"/>
                    <a:pt x="280" y="713"/>
                  </a:cubicBezTo>
                  <a:cubicBezTo>
                    <a:pt x="294" y="742"/>
                    <a:pt x="323" y="760"/>
                    <a:pt x="355" y="760"/>
                  </a:cubicBezTo>
                  <a:cubicBezTo>
                    <a:pt x="621" y="760"/>
                    <a:pt x="621" y="760"/>
                    <a:pt x="621" y="760"/>
                  </a:cubicBezTo>
                  <a:cubicBezTo>
                    <a:pt x="622" y="760"/>
                    <a:pt x="624" y="760"/>
                    <a:pt x="625" y="760"/>
                  </a:cubicBezTo>
                  <a:cubicBezTo>
                    <a:pt x="657" y="758"/>
                    <a:pt x="682" y="738"/>
                    <a:pt x="686" y="709"/>
                  </a:cubicBezTo>
                  <a:cubicBezTo>
                    <a:pt x="688" y="706"/>
                    <a:pt x="688" y="703"/>
                    <a:pt x="688" y="700"/>
                  </a:cubicBezTo>
                  <a:cubicBezTo>
                    <a:pt x="688" y="699"/>
                    <a:pt x="688" y="699"/>
                    <a:pt x="688" y="699"/>
                  </a:cubicBezTo>
                  <a:cubicBezTo>
                    <a:pt x="688" y="665"/>
                    <a:pt x="664" y="636"/>
                    <a:pt x="633" y="628"/>
                  </a:cubicBezTo>
                  <a:close/>
                  <a:moveTo>
                    <a:pt x="1136" y="335"/>
                  </a:moveTo>
                  <a:cubicBezTo>
                    <a:pt x="1136" y="335"/>
                    <a:pt x="1136" y="335"/>
                    <a:pt x="1136" y="335"/>
                  </a:cubicBezTo>
                  <a:cubicBezTo>
                    <a:pt x="1135" y="335"/>
                    <a:pt x="1135" y="333"/>
                    <a:pt x="1135" y="333"/>
                  </a:cubicBezTo>
                  <a:cubicBezTo>
                    <a:pt x="893" y="231"/>
                    <a:pt x="893" y="231"/>
                    <a:pt x="893" y="231"/>
                  </a:cubicBezTo>
                  <a:cubicBezTo>
                    <a:pt x="893" y="231"/>
                    <a:pt x="893" y="231"/>
                    <a:pt x="893" y="231"/>
                  </a:cubicBezTo>
                  <a:cubicBezTo>
                    <a:pt x="891" y="230"/>
                    <a:pt x="889" y="228"/>
                    <a:pt x="886" y="227"/>
                  </a:cubicBezTo>
                  <a:cubicBezTo>
                    <a:pt x="884" y="227"/>
                    <a:pt x="883" y="227"/>
                    <a:pt x="881" y="227"/>
                  </a:cubicBezTo>
                  <a:cubicBezTo>
                    <a:pt x="873" y="227"/>
                    <a:pt x="865" y="231"/>
                    <a:pt x="862" y="237"/>
                  </a:cubicBezTo>
                  <a:cubicBezTo>
                    <a:pt x="745" y="519"/>
                    <a:pt x="745" y="519"/>
                    <a:pt x="745" y="519"/>
                  </a:cubicBezTo>
                  <a:cubicBezTo>
                    <a:pt x="743" y="522"/>
                    <a:pt x="743" y="527"/>
                    <a:pt x="748" y="530"/>
                  </a:cubicBezTo>
                  <a:cubicBezTo>
                    <a:pt x="748" y="531"/>
                    <a:pt x="748" y="531"/>
                    <a:pt x="748" y="531"/>
                  </a:cubicBezTo>
                  <a:cubicBezTo>
                    <a:pt x="946" y="706"/>
                    <a:pt x="946" y="706"/>
                    <a:pt x="946" y="706"/>
                  </a:cubicBezTo>
                  <a:cubicBezTo>
                    <a:pt x="946" y="706"/>
                    <a:pt x="946" y="706"/>
                    <a:pt x="946" y="706"/>
                  </a:cubicBezTo>
                  <a:cubicBezTo>
                    <a:pt x="946" y="706"/>
                    <a:pt x="946" y="706"/>
                    <a:pt x="946" y="706"/>
                  </a:cubicBezTo>
                  <a:cubicBezTo>
                    <a:pt x="948" y="708"/>
                    <a:pt x="948" y="708"/>
                    <a:pt x="948" y="708"/>
                  </a:cubicBezTo>
                  <a:cubicBezTo>
                    <a:pt x="951" y="710"/>
                    <a:pt x="955" y="712"/>
                    <a:pt x="959" y="713"/>
                  </a:cubicBezTo>
                  <a:cubicBezTo>
                    <a:pt x="960" y="713"/>
                    <a:pt x="961" y="713"/>
                    <a:pt x="962" y="713"/>
                  </a:cubicBezTo>
                  <a:cubicBezTo>
                    <a:pt x="966" y="714"/>
                    <a:pt x="969" y="714"/>
                    <a:pt x="972" y="714"/>
                  </a:cubicBezTo>
                  <a:cubicBezTo>
                    <a:pt x="985" y="714"/>
                    <a:pt x="997" y="710"/>
                    <a:pt x="1003" y="698"/>
                  </a:cubicBezTo>
                  <a:cubicBezTo>
                    <a:pt x="1010" y="684"/>
                    <a:pt x="1131" y="415"/>
                    <a:pt x="1143" y="384"/>
                  </a:cubicBezTo>
                  <a:cubicBezTo>
                    <a:pt x="1159" y="343"/>
                    <a:pt x="1136" y="335"/>
                    <a:pt x="1136" y="335"/>
                  </a:cubicBezTo>
                  <a:close/>
                  <a:moveTo>
                    <a:pt x="956" y="663"/>
                  </a:moveTo>
                  <a:cubicBezTo>
                    <a:pt x="776" y="520"/>
                    <a:pt x="776" y="520"/>
                    <a:pt x="776" y="520"/>
                  </a:cubicBezTo>
                  <a:cubicBezTo>
                    <a:pt x="882" y="261"/>
                    <a:pt x="882" y="261"/>
                    <a:pt x="882" y="261"/>
                  </a:cubicBezTo>
                  <a:cubicBezTo>
                    <a:pt x="1093" y="352"/>
                    <a:pt x="1093" y="352"/>
                    <a:pt x="1093" y="352"/>
                  </a:cubicBezTo>
                  <a:cubicBezTo>
                    <a:pt x="956" y="663"/>
                    <a:pt x="956" y="663"/>
                    <a:pt x="956" y="663"/>
                  </a:cubicBezTo>
                  <a:cubicBezTo>
                    <a:pt x="956" y="663"/>
                    <a:pt x="956" y="663"/>
                    <a:pt x="956" y="663"/>
                  </a:cubicBezTo>
                  <a:close/>
                  <a:moveTo>
                    <a:pt x="748" y="541"/>
                  </a:moveTo>
                  <a:cubicBezTo>
                    <a:pt x="740" y="535"/>
                    <a:pt x="726" y="529"/>
                    <a:pt x="713" y="529"/>
                  </a:cubicBezTo>
                  <a:cubicBezTo>
                    <a:pt x="592" y="529"/>
                    <a:pt x="592" y="529"/>
                    <a:pt x="592" y="529"/>
                  </a:cubicBezTo>
                  <a:cubicBezTo>
                    <a:pt x="596" y="535"/>
                    <a:pt x="600" y="540"/>
                    <a:pt x="603" y="546"/>
                  </a:cubicBezTo>
                  <a:cubicBezTo>
                    <a:pt x="615" y="546"/>
                    <a:pt x="615" y="546"/>
                    <a:pt x="615" y="546"/>
                  </a:cubicBezTo>
                  <a:cubicBezTo>
                    <a:pt x="625" y="557"/>
                    <a:pt x="625" y="557"/>
                    <a:pt x="625" y="557"/>
                  </a:cubicBezTo>
                  <a:cubicBezTo>
                    <a:pt x="608" y="557"/>
                    <a:pt x="608" y="557"/>
                    <a:pt x="608" y="557"/>
                  </a:cubicBezTo>
                  <a:cubicBezTo>
                    <a:pt x="611" y="564"/>
                    <a:pt x="612" y="570"/>
                    <a:pt x="613" y="577"/>
                  </a:cubicBezTo>
                  <a:cubicBezTo>
                    <a:pt x="613" y="585"/>
                    <a:pt x="613" y="592"/>
                    <a:pt x="612" y="598"/>
                  </a:cubicBezTo>
                  <a:cubicBezTo>
                    <a:pt x="623" y="599"/>
                    <a:pt x="623" y="599"/>
                    <a:pt x="623" y="599"/>
                  </a:cubicBezTo>
                  <a:cubicBezTo>
                    <a:pt x="631" y="599"/>
                    <a:pt x="637" y="600"/>
                    <a:pt x="644" y="603"/>
                  </a:cubicBezTo>
                  <a:cubicBezTo>
                    <a:pt x="662" y="603"/>
                    <a:pt x="662" y="603"/>
                    <a:pt x="662" y="603"/>
                  </a:cubicBezTo>
                  <a:cubicBezTo>
                    <a:pt x="673" y="616"/>
                    <a:pt x="673" y="616"/>
                    <a:pt x="673" y="616"/>
                  </a:cubicBezTo>
                  <a:cubicBezTo>
                    <a:pt x="672" y="616"/>
                    <a:pt x="672" y="616"/>
                    <a:pt x="672" y="616"/>
                  </a:cubicBezTo>
                  <a:cubicBezTo>
                    <a:pt x="688" y="627"/>
                    <a:pt x="701" y="644"/>
                    <a:pt x="709" y="662"/>
                  </a:cubicBezTo>
                  <a:cubicBezTo>
                    <a:pt x="711" y="662"/>
                    <a:pt x="711" y="662"/>
                    <a:pt x="711" y="662"/>
                  </a:cubicBezTo>
                  <a:cubicBezTo>
                    <a:pt x="721" y="675"/>
                    <a:pt x="721" y="675"/>
                    <a:pt x="721" y="675"/>
                  </a:cubicBezTo>
                  <a:cubicBezTo>
                    <a:pt x="713" y="675"/>
                    <a:pt x="713" y="675"/>
                    <a:pt x="713" y="675"/>
                  </a:cubicBezTo>
                  <a:cubicBezTo>
                    <a:pt x="714" y="681"/>
                    <a:pt x="716" y="687"/>
                    <a:pt x="716" y="692"/>
                  </a:cubicBezTo>
                  <a:cubicBezTo>
                    <a:pt x="736" y="692"/>
                    <a:pt x="736" y="692"/>
                    <a:pt x="736" y="692"/>
                  </a:cubicBezTo>
                  <a:cubicBezTo>
                    <a:pt x="749" y="709"/>
                    <a:pt x="749" y="709"/>
                    <a:pt x="749" y="709"/>
                  </a:cubicBezTo>
                  <a:cubicBezTo>
                    <a:pt x="721" y="709"/>
                    <a:pt x="721" y="709"/>
                    <a:pt x="721" y="709"/>
                  </a:cubicBezTo>
                  <a:cubicBezTo>
                    <a:pt x="716" y="701"/>
                    <a:pt x="716" y="701"/>
                    <a:pt x="716" y="701"/>
                  </a:cubicBezTo>
                  <a:cubicBezTo>
                    <a:pt x="714" y="725"/>
                    <a:pt x="705" y="746"/>
                    <a:pt x="691" y="760"/>
                  </a:cubicBezTo>
                  <a:cubicBezTo>
                    <a:pt x="914" y="760"/>
                    <a:pt x="914" y="760"/>
                    <a:pt x="914" y="760"/>
                  </a:cubicBezTo>
                  <a:cubicBezTo>
                    <a:pt x="926" y="760"/>
                    <a:pt x="935" y="754"/>
                    <a:pt x="935" y="745"/>
                  </a:cubicBezTo>
                  <a:cubicBezTo>
                    <a:pt x="935" y="737"/>
                    <a:pt x="935" y="737"/>
                    <a:pt x="935" y="737"/>
                  </a:cubicBezTo>
                  <a:cubicBezTo>
                    <a:pt x="935" y="728"/>
                    <a:pt x="929" y="716"/>
                    <a:pt x="922" y="709"/>
                  </a:cubicBezTo>
                  <a:cubicBezTo>
                    <a:pt x="748" y="541"/>
                    <a:pt x="748" y="541"/>
                    <a:pt x="748" y="541"/>
                  </a:cubicBezTo>
                  <a:cubicBezTo>
                    <a:pt x="748" y="541"/>
                    <a:pt x="748" y="541"/>
                    <a:pt x="748" y="541"/>
                  </a:cubicBezTo>
                  <a:close/>
                  <a:moveTo>
                    <a:pt x="828" y="675"/>
                  </a:moveTo>
                  <a:cubicBezTo>
                    <a:pt x="803" y="675"/>
                    <a:pt x="803" y="675"/>
                    <a:pt x="803" y="675"/>
                  </a:cubicBezTo>
                  <a:cubicBezTo>
                    <a:pt x="791" y="662"/>
                    <a:pt x="791" y="662"/>
                    <a:pt x="791" y="662"/>
                  </a:cubicBezTo>
                  <a:cubicBezTo>
                    <a:pt x="817" y="662"/>
                    <a:pt x="817" y="662"/>
                    <a:pt x="817" y="662"/>
                  </a:cubicBezTo>
                  <a:cubicBezTo>
                    <a:pt x="828" y="675"/>
                    <a:pt x="828" y="675"/>
                    <a:pt x="828" y="675"/>
                  </a:cubicBezTo>
                  <a:cubicBezTo>
                    <a:pt x="828" y="675"/>
                    <a:pt x="828" y="675"/>
                    <a:pt x="828" y="675"/>
                  </a:cubicBezTo>
                  <a:close/>
                  <a:moveTo>
                    <a:pt x="802" y="646"/>
                  </a:moveTo>
                  <a:cubicBezTo>
                    <a:pt x="777" y="646"/>
                    <a:pt x="777" y="646"/>
                    <a:pt x="777" y="646"/>
                  </a:cubicBezTo>
                  <a:cubicBezTo>
                    <a:pt x="766" y="633"/>
                    <a:pt x="766" y="633"/>
                    <a:pt x="766" y="633"/>
                  </a:cubicBezTo>
                  <a:cubicBezTo>
                    <a:pt x="789" y="633"/>
                    <a:pt x="789" y="633"/>
                    <a:pt x="789" y="633"/>
                  </a:cubicBezTo>
                  <a:cubicBezTo>
                    <a:pt x="802" y="646"/>
                    <a:pt x="802" y="646"/>
                    <a:pt x="802" y="646"/>
                  </a:cubicBezTo>
                  <a:cubicBezTo>
                    <a:pt x="802" y="646"/>
                    <a:pt x="802" y="646"/>
                    <a:pt x="802" y="646"/>
                  </a:cubicBezTo>
                  <a:close/>
                  <a:moveTo>
                    <a:pt x="762" y="603"/>
                  </a:moveTo>
                  <a:cubicBezTo>
                    <a:pt x="775" y="616"/>
                    <a:pt x="775" y="616"/>
                    <a:pt x="775" y="616"/>
                  </a:cubicBezTo>
                  <a:cubicBezTo>
                    <a:pt x="751" y="616"/>
                    <a:pt x="751" y="616"/>
                    <a:pt x="751" y="616"/>
                  </a:cubicBezTo>
                  <a:cubicBezTo>
                    <a:pt x="740" y="603"/>
                    <a:pt x="740" y="603"/>
                    <a:pt x="740" y="603"/>
                  </a:cubicBezTo>
                  <a:cubicBezTo>
                    <a:pt x="762" y="603"/>
                    <a:pt x="762" y="603"/>
                    <a:pt x="762" y="603"/>
                  </a:cubicBezTo>
                  <a:cubicBezTo>
                    <a:pt x="762" y="603"/>
                    <a:pt x="762" y="603"/>
                    <a:pt x="762" y="603"/>
                  </a:cubicBezTo>
                  <a:close/>
                  <a:moveTo>
                    <a:pt x="747" y="587"/>
                  </a:moveTo>
                  <a:cubicBezTo>
                    <a:pt x="726" y="587"/>
                    <a:pt x="726" y="587"/>
                    <a:pt x="726" y="587"/>
                  </a:cubicBezTo>
                  <a:cubicBezTo>
                    <a:pt x="714" y="573"/>
                    <a:pt x="714" y="573"/>
                    <a:pt x="714" y="573"/>
                  </a:cubicBezTo>
                  <a:cubicBezTo>
                    <a:pt x="735" y="573"/>
                    <a:pt x="735" y="573"/>
                    <a:pt x="735" y="573"/>
                  </a:cubicBezTo>
                  <a:cubicBezTo>
                    <a:pt x="747" y="587"/>
                    <a:pt x="747" y="587"/>
                    <a:pt x="747" y="587"/>
                  </a:cubicBezTo>
                  <a:cubicBezTo>
                    <a:pt x="747" y="587"/>
                    <a:pt x="747" y="587"/>
                    <a:pt x="747" y="587"/>
                  </a:cubicBezTo>
                  <a:close/>
                  <a:moveTo>
                    <a:pt x="710" y="546"/>
                  </a:moveTo>
                  <a:cubicBezTo>
                    <a:pt x="720" y="557"/>
                    <a:pt x="720" y="557"/>
                    <a:pt x="720" y="557"/>
                  </a:cubicBezTo>
                  <a:cubicBezTo>
                    <a:pt x="700" y="557"/>
                    <a:pt x="700" y="557"/>
                    <a:pt x="700" y="557"/>
                  </a:cubicBezTo>
                  <a:cubicBezTo>
                    <a:pt x="691" y="546"/>
                    <a:pt x="691" y="546"/>
                    <a:pt x="691" y="546"/>
                  </a:cubicBezTo>
                  <a:cubicBezTo>
                    <a:pt x="710" y="546"/>
                    <a:pt x="710" y="546"/>
                    <a:pt x="710" y="546"/>
                  </a:cubicBezTo>
                  <a:cubicBezTo>
                    <a:pt x="710" y="546"/>
                    <a:pt x="710" y="546"/>
                    <a:pt x="710" y="546"/>
                  </a:cubicBezTo>
                  <a:close/>
                  <a:moveTo>
                    <a:pt x="627" y="587"/>
                  </a:moveTo>
                  <a:cubicBezTo>
                    <a:pt x="616" y="573"/>
                    <a:pt x="616" y="573"/>
                    <a:pt x="616" y="573"/>
                  </a:cubicBezTo>
                  <a:cubicBezTo>
                    <a:pt x="637" y="573"/>
                    <a:pt x="637" y="573"/>
                    <a:pt x="637" y="573"/>
                  </a:cubicBezTo>
                  <a:cubicBezTo>
                    <a:pt x="648" y="587"/>
                    <a:pt x="648" y="587"/>
                    <a:pt x="648" y="587"/>
                  </a:cubicBezTo>
                  <a:cubicBezTo>
                    <a:pt x="627" y="587"/>
                    <a:pt x="627" y="587"/>
                    <a:pt x="627" y="587"/>
                  </a:cubicBezTo>
                  <a:cubicBezTo>
                    <a:pt x="627" y="587"/>
                    <a:pt x="627" y="587"/>
                    <a:pt x="627" y="587"/>
                  </a:cubicBezTo>
                  <a:close/>
                  <a:moveTo>
                    <a:pt x="652" y="557"/>
                  </a:moveTo>
                  <a:cubicBezTo>
                    <a:pt x="643" y="546"/>
                    <a:pt x="643" y="546"/>
                    <a:pt x="643" y="546"/>
                  </a:cubicBezTo>
                  <a:cubicBezTo>
                    <a:pt x="663" y="546"/>
                    <a:pt x="663" y="546"/>
                    <a:pt x="663" y="546"/>
                  </a:cubicBezTo>
                  <a:cubicBezTo>
                    <a:pt x="672" y="557"/>
                    <a:pt x="672" y="557"/>
                    <a:pt x="672" y="557"/>
                  </a:cubicBezTo>
                  <a:cubicBezTo>
                    <a:pt x="652" y="557"/>
                    <a:pt x="652" y="557"/>
                    <a:pt x="652" y="557"/>
                  </a:cubicBezTo>
                  <a:cubicBezTo>
                    <a:pt x="652" y="557"/>
                    <a:pt x="652" y="557"/>
                    <a:pt x="652" y="557"/>
                  </a:cubicBezTo>
                  <a:close/>
                  <a:moveTo>
                    <a:pt x="676" y="587"/>
                  </a:moveTo>
                  <a:cubicBezTo>
                    <a:pt x="665" y="573"/>
                    <a:pt x="665" y="573"/>
                    <a:pt x="665" y="573"/>
                  </a:cubicBezTo>
                  <a:cubicBezTo>
                    <a:pt x="686" y="573"/>
                    <a:pt x="686" y="573"/>
                    <a:pt x="686" y="573"/>
                  </a:cubicBezTo>
                  <a:cubicBezTo>
                    <a:pt x="698" y="587"/>
                    <a:pt x="698" y="587"/>
                    <a:pt x="698" y="587"/>
                  </a:cubicBezTo>
                  <a:cubicBezTo>
                    <a:pt x="676" y="587"/>
                    <a:pt x="676" y="587"/>
                    <a:pt x="676" y="587"/>
                  </a:cubicBezTo>
                  <a:cubicBezTo>
                    <a:pt x="676" y="587"/>
                    <a:pt x="676" y="587"/>
                    <a:pt x="676" y="587"/>
                  </a:cubicBezTo>
                  <a:close/>
                  <a:moveTo>
                    <a:pt x="701" y="616"/>
                  </a:moveTo>
                  <a:cubicBezTo>
                    <a:pt x="690" y="603"/>
                    <a:pt x="690" y="603"/>
                    <a:pt x="690" y="603"/>
                  </a:cubicBezTo>
                  <a:cubicBezTo>
                    <a:pt x="712" y="603"/>
                    <a:pt x="712" y="603"/>
                    <a:pt x="712" y="603"/>
                  </a:cubicBezTo>
                  <a:cubicBezTo>
                    <a:pt x="723" y="616"/>
                    <a:pt x="723" y="616"/>
                    <a:pt x="723" y="616"/>
                  </a:cubicBezTo>
                  <a:cubicBezTo>
                    <a:pt x="701" y="616"/>
                    <a:pt x="701" y="616"/>
                    <a:pt x="701" y="616"/>
                  </a:cubicBezTo>
                  <a:cubicBezTo>
                    <a:pt x="701" y="616"/>
                    <a:pt x="701" y="616"/>
                    <a:pt x="701" y="616"/>
                  </a:cubicBezTo>
                  <a:close/>
                  <a:moveTo>
                    <a:pt x="724" y="646"/>
                  </a:moveTo>
                  <a:cubicBezTo>
                    <a:pt x="714" y="633"/>
                    <a:pt x="714" y="633"/>
                    <a:pt x="714" y="633"/>
                  </a:cubicBezTo>
                  <a:cubicBezTo>
                    <a:pt x="738" y="633"/>
                    <a:pt x="738" y="633"/>
                    <a:pt x="738" y="633"/>
                  </a:cubicBezTo>
                  <a:cubicBezTo>
                    <a:pt x="749" y="646"/>
                    <a:pt x="749" y="646"/>
                    <a:pt x="749" y="646"/>
                  </a:cubicBezTo>
                  <a:cubicBezTo>
                    <a:pt x="724" y="646"/>
                    <a:pt x="724" y="646"/>
                    <a:pt x="724" y="646"/>
                  </a:cubicBezTo>
                  <a:cubicBezTo>
                    <a:pt x="724" y="646"/>
                    <a:pt x="724" y="646"/>
                    <a:pt x="724" y="646"/>
                  </a:cubicBezTo>
                  <a:close/>
                  <a:moveTo>
                    <a:pt x="738" y="662"/>
                  </a:moveTo>
                  <a:cubicBezTo>
                    <a:pt x="764" y="662"/>
                    <a:pt x="764" y="662"/>
                    <a:pt x="764" y="662"/>
                  </a:cubicBezTo>
                  <a:cubicBezTo>
                    <a:pt x="775" y="675"/>
                    <a:pt x="775" y="675"/>
                    <a:pt x="775" y="675"/>
                  </a:cubicBezTo>
                  <a:cubicBezTo>
                    <a:pt x="749" y="675"/>
                    <a:pt x="749" y="675"/>
                    <a:pt x="749" y="675"/>
                  </a:cubicBezTo>
                  <a:cubicBezTo>
                    <a:pt x="738" y="662"/>
                    <a:pt x="738" y="662"/>
                    <a:pt x="738" y="662"/>
                  </a:cubicBezTo>
                  <a:cubicBezTo>
                    <a:pt x="738" y="662"/>
                    <a:pt x="738" y="662"/>
                    <a:pt x="738" y="662"/>
                  </a:cubicBezTo>
                  <a:close/>
                  <a:moveTo>
                    <a:pt x="776" y="709"/>
                  </a:moveTo>
                  <a:cubicBezTo>
                    <a:pt x="762" y="692"/>
                    <a:pt x="762" y="692"/>
                    <a:pt x="762" y="692"/>
                  </a:cubicBezTo>
                  <a:cubicBezTo>
                    <a:pt x="789" y="692"/>
                    <a:pt x="789" y="692"/>
                    <a:pt x="789" y="692"/>
                  </a:cubicBezTo>
                  <a:cubicBezTo>
                    <a:pt x="804" y="709"/>
                    <a:pt x="804" y="709"/>
                    <a:pt x="804" y="709"/>
                  </a:cubicBezTo>
                  <a:cubicBezTo>
                    <a:pt x="776" y="709"/>
                    <a:pt x="776" y="709"/>
                    <a:pt x="776" y="709"/>
                  </a:cubicBezTo>
                  <a:cubicBezTo>
                    <a:pt x="776" y="709"/>
                    <a:pt x="776" y="709"/>
                    <a:pt x="776" y="709"/>
                  </a:cubicBezTo>
                  <a:close/>
                  <a:moveTo>
                    <a:pt x="832" y="709"/>
                  </a:moveTo>
                  <a:cubicBezTo>
                    <a:pt x="817" y="692"/>
                    <a:pt x="817" y="692"/>
                    <a:pt x="817" y="692"/>
                  </a:cubicBezTo>
                  <a:cubicBezTo>
                    <a:pt x="844" y="692"/>
                    <a:pt x="844" y="692"/>
                    <a:pt x="844" y="692"/>
                  </a:cubicBezTo>
                  <a:cubicBezTo>
                    <a:pt x="859" y="709"/>
                    <a:pt x="859" y="709"/>
                    <a:pt x="859" y="709"/>
                  </a:cubicBezTo>
                  <a:cubicBezTo>
                    <a:pt x="832" y="709"/>
                    <a:pt x="832" y="709"/>
                    <a:pt x="832" y="709"/>
                  </a:cubicBezTo>
                  <a:cubicBezTo>
                    <a:pt x="832" y="709"/>
                    <a:pt x="832" y="709"/>
                    <a:pt x="832" y="7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E" sz="1600">
                <a:latin typeface="Calibri" panose="020F0502020204030204" pitchFamily="34" charset="0"/>
              </a:endParaRPr>
            </a:p>
          </p:txBody>
        </p:sp>
      </p:grpSp>
      <p:grpSp>
        <p:nvGrpSpPr>
          <p:cNvPr id="27" name="Group 26"/>
          <p:cNvGrpSpPr/>
          <p:nvPr/>
        </p:nvGrpSpPr>
        <p:grpSpPr>
          <a:xfrm>
            <a:off x="7447626" y="3147426"/>
            <a:ext cx="654686" cy="588269"/>
            <a:chOff x="1908176" y="5307013"/>
            <a:chExt cx="700088" cy="795337"/>
          </a:xfrm>
          <a:solidFill>
            <a:schemeClr val="tx1"/>
          </a:solidFill>
        </p:grpSpPr>
        <p:sp>
          <p:nvSpPr>
            <p:cNvPr id="28" name="Freeform 63"/>
            <p:cNvSpPr>
              <a:spLocks/>
            </p:cNvSpPr>
            <p:nvPr/>
          </p:nvSpPr>
          <p:spPr bwMode="auto">
            <a:xfrm>
              <a:off x="1965326" y="5307013"/>
              <a:ext cx="168275" cy="193675"/>
            </a:xfrm>
            <a:custGeom>
              <a:avLst/>
              <a:gdLst>
                <a:gd name="T0" fmla="*/ 165 w 330"/>
                <a:gd name="T1" fmla="*/ 381 h 381"/>
                <a:gd name="T2" fmla="*/ 330 w 330"/>
                <a:gd name="T3" fmla="*/ 177 h 381"/>
                <a:gd name="T4" fmla="*/ 165 w 330"/>
                <a:gd name="T5" fmla="*/ 0 h 381"/>
                <a:gd name="T6" fmla="*/ 0 w 330"/>
                <a:gd name="T7" fmla="*/ 177 h 381"/>
                <a:gd name="T8" fmla="*/ 165 w 330"/>
                <a:gd name="T9" fmla="*/ 381 h 381"/>
              </a:gdLst>
              <a:ahLst/>
              <a:cxnLst>
                <a:cxn ang="0">
                  <a:pos x="T0" y="T1"/>
                </a:cxn>
                <a:cxn ang="0">
                  <a:pos x="T2" y="T3"/>
                </a:cxn>
                <a:cxn ang="0">
                  <a:pos x="T4" y="T5"/>
                </a:cxn>
                <a:cxn ang="0">
                  <a:pos x="T6" y="T7"/>
                </a:cxn>
                <a:cxn ang="0">
                  <a:pos x="T8" y="T9"/>
                </a:cxn>
              </a:cxnLst>
              <a:rect l="0" t="0" r="r" b="b"/>
              <a:pathLst>
                <a:path w="330" h="381">
                  <a:moveTo>
                    <a:pt x="165" y="381"/>
                  </a:moveTo>
                  <a:cubicBezTo>
                    <a:pt x="258" y="380"/>
                    <a:pt x="330" y="271"/>
                    <a:pt x="330" y="177"/>
                  </a:cubicBezTo>
                  <a:cubicBezTo>
                    <a:pt x="330" y="82"/>
                    <a:pt x="256" y="2"/>
                    <a:pt x="165" y="0"/>
                  </a:cubicBezTo>
                  <a:cubicBezTo>
                    <a:pt x="74" y="2"/>
                    <a:pt x="0" y="83"/>
                    <a:pt x="0" y="177"/>
                  </a:cubicBezTo>
                  <a:cubicBezTo>
                    <a:pt x="0" y="271"/>
                    <a:pt x="73" y="380"/>
                    <a:pt x="165" y="3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E" sz="1600">
                <a:latin typeface="Calibri" panose="020F0502020204030204" pitchFamily="34" charset="0"/>
              </a:endParaRPr>
            </a:p>
          </p:txBody>
        </p:sp>
        <p:sp>
          <p:nvSpPr>
            <p:cNvPr id="29" name="Freeform 64"/>
            <p:cNvSpPr>
              <a:spLocks/>
            </p:cNvSpPr>
            <p:nvPr/>
          </p:nvSpPr>
          <p:spPr bwMode="auto">
            <a:xfrm>
              <a:off x="2033588" y="5514975"/>
              <a:ext cx="31750" cy="19050"/>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E" sz="1600">
                <a:latin typeface="Calibri" panose="020F0502020204030204" pitchFamily="34" charset="0"/>
              </a:endParaRPr>
            </a:p>
          </p:txBody>
        </p:sp>
        <p:sp>
          <p:nvSpPr>
            <p:cNvPr id="30" name="Freeform 65"/>
            <p:cNvSpPr>
              <a:spLocks/>
            </p:cNvSpPr>
            <p:nvPr/>
          </p:nvSpPr>
          <p:spPr bwMode="auto">
            <a:xfrm>
              <a:off x="1908176" y="5514975"/>
              <a:ext cx="477838" cy="587375"/>
            </a:xfrm>
            <a:custGeom>
              <a:avLst/>
              <a:gdLst>
                <a:gd name="T0" fmla="*/ 465 w 942"/>
                <a:gd name="T1" fmla="*/ 140 h 1159"/>
                <a:gd name="T2" fmla="*/ 872 w 942"/>
                <a:gd name="T3" fmla="*/ 140 h 1159"/>
                <a:gd name="T4" fmla="*/ 942 w 942"/>
                <a:gd name="T5" fmla="*/ 70 h 1159"/>
                <a:gd name="T6" fmla="*/ 872 w 942"/>
                <a:gd name="T7" fmla="*/ 0 h 1159"/>
                <a:gd name="T8" fmla="*/ 463 w 942"/>
                <a:gd name="T9" fmla="*/ 0 h 1159"/>
                <a:gd name="T10" fmla="*/ 463 w 942"/>
                <a:gd name="T11" fmla="*/ 0 h 1159"/>
                <a:gd name="T12" fmla="*/ 375 w 942"/>
                <a:gd name="T13" fmla="*/ 0 h 1159"/>
                <a:gd name="T14" fmla="*/ 314 w 942"/>
                <a:gd name="T15" fmla="*/ 120 h 1159"/>
                <a:gd name="T16" fmla="*/ 307 w 942"/>
                <a:gd name="T17" fmla="*/ 90 h 1159"/>
                <a:gd name="T18" fmla="*/ 297 w 942"/>
                <a:gd name="T19" fmla="*/ 47 h 1159"/>
                <a:gd name="T20" fmla="*/ 263 w 942"/>
                <a:gd name="T21" fmla="*/ 47 h 1159"/>
                <a:gd name="T22" fmla="*/ 261 w 942"/>
                <a:gd name="T23" fmla="*/ 49 h 1159"/>
                <a:gd name="T24" fmla="*/ 247 w 942"/>
                <a:gd name="T25" fmla="*/ 112 h 1159"/>
                <a:gd name="T26" fmla="*/ 246 w 942"/>
                <a:gd name="T27" fmla="*/ 119 h 1159"/>
                <a:gd name="T28" fmla="*/ 184 w 942"/>
                <a:gd name="T29" fmla="*/ 0 h 1159"/>
                <a:gd name="T30" fmla="*/ 96 w 942"/>
                <a:gd name="T31" fmla="*/ 0 h 1159"/>
                <a:gd name="T32" fmla="*/ 0 w 942"/>
                <a:gd name="T33" fmla="*/ 102 h 1159"/>
                <a:gd name="T34" fmla="*/ 0 w 942"/>
                <a:gd name="T35" fmla="*/ 485 h 1159"/>
                <a:gd name="T36" fmla="*/ 88 w 942"/>
                <a:gd name="T37" fmla="*/ 585 h 1159"/>
                <a:gd name="T38" fmla="*/ 129 w 942"/>
                <a:gd name="T39" fmla="*/ 1054 h 1159"/>
                <a:gd name="T40" fmla="*/ 210 w 942"/>
                <a:gd name="T41" fmla="*/ 1158 h 1159"/>
                <a:gd name="T42" fmla="*/ 350 w 942"/>
                <a:gd name="T43" fmla="*/ 1158 h 1159"/>
                <a:gd name="T44" fmla="*/ 430 w 942"/>
                <a:gd name="T45" fmla="*/ 1054 h 1159"/>
                <a:gd name="T46" fmla="*/ 465 w 942"/>
                <a:gd name="T47" fmla="*/ 661 h 1159"/>
                <a:gd name="T48" fmla="*/ 465 w 942"/>
                <a:gd name="T49" fmla="*/ 661 h 1159"/>
                <a:gd name="T50" fmla="*/ 465 w 942"/>
                <a:gd name="T51" fmla="*/ 140 h 1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42" h="1159">
                  <a:moveTo>
                    <a:pt x="465" y="140"/>
                  </a:moveTo>
                  <a:cubicBezTo>
                    <a:pt x="872" y="140"/>
                    <a:pt x="872" y="140"/>
                    <a:pt x="872" y="140"/>
                  </a:cubicBezTo>
                  <a:cubicBezTo>
                    <a:pt x="911" y="140"/>
                    <a:pt x="942" y="108"/>
                    <a:pt x="942" y="70"/>
                  </a:cubicBezTo>
                  <a:cubicBezTo>
                    <a:pt x="942" y="32"/>
                    <a:pt x="911" y="0"/>
                    <a:pt x="872" y="0"/>
                  </a:cubicBezTo>
                  <a:cubicBezTo>
                    <a:pt x="463" y="0"/>
                    <a:pt x="463" y="0"/>
                    <a:pt x="463" y="0"/>
                  </a:cubicBezTo>
                  <a:cubicBezTo>
                    <a:pt x="463" y="0"/>
                    <a:pt x="463" y="0"/>
                    <a:pt x="463" y="0"/>
                  </a:cubicBezTo>
                  <a:cubicBezTo>
                    <a:pt x="375" y="0"/>
                    <a:pt x="375" y="0"/>
                    <a:pt x="375" y="0"/>
                  </a:cubicBezTo>
                  <a:cubicBezTo>
                    <a:pt x="314" y="120"/>
                    <a:pt x="314" y="120"/>
                    <a:pt x="314" y="120"/>
                  </a:cubicBezTo>
                  <a:cubicBezTo>
                    <a:pt x="311" y="110"/>
                    <a:pt x="309" y="100"/>
                    <a:pt x="307" y="90"/>
                  </a:cubicBezTo>
                  <a:cubicBezTo>
                    <a:pt x="304" y="76"/>
                    <a:pt x="301" y="61"/>
                    <a:pt x="297" y="47"/>
                  </a:cubicBezTo>
                  <a:cubicBezTo>
                    <a:pt x="286" y="47"/>
                    <a:pt x="274" y="47"/>
                    <a:pt x="263" y="47"/>
                  </a:cubicBezTo>
                  <a:cubicBezTo>
                    <a:pt x="261" y="47"/>
                    <a:pt x="261" y="48"/>
                    <a:pt x="261" y="49"/>
                  </a:cubicBezTo>
                  <a:cubicBezTo>
                    <a:pt x="256" y="70"/>
                    <a:pt x="252" y="91"/>
                    <a:pt x="247" y="112"/>
                  </a:cubicBezTo>
                  <a:cubicBezTo>
                    <a:pt x="247" y="114"/>
                    <a:pt x="246" y="117"/>
                    <a:pt x="246" y="119"/>
                  </a:cubicBezTo>
                  <a:cubicBezTo>
                    <a:pt x="184" y="0"/>
                    <a:pt x="184" y="0"/>
                    <a:pt x="184" y="0"/>
                  </a:cubicBezTo>
                  <a:cubicBezTo>
                    <a:pt x="96" y="0"/>
                    <a:pt x="96" y="0"/>
                    <a:pt x="96" y="0"/>
                  </a:cubicBezTo>
                  <a:cubicBezTo>
                    <a:pt x="43" y="0"/>
                    <a:pt x="0" y="46"/>
                    <a:pt x="0" y="102"/>
                  </a:cubicBezTo>
                  <a:cubicBezTo>
                    <a:pt x="0" y="485"/>
                    <a:pt x="0" y="485"/>
                    <a:pt x="0" y="485"/>
                  </a:cubicBezTo>
                  <a:cubicBezTo>
                    <a:pt x="0" y="538"/>
                    <a:pt x="38" y="581"/>
                    <a:pt x="88" y="585"/>
                  </a:cubicBezTo>
                  <a:cubicBezTo>
                    <a:pt x="102" y="740"/>
                    <a:pt x="115" y="896"/>
                    <a:pt x="129" y="1054"/>
                  </a:cubicBezTo>
                  <a:cubicBezTo>
                    <a:pt x="135" y="1109"/>
                    <a:pt x="170" y="1156"/>
                    <a:pt x="210" y="1158"/>
                  </a:cubicBezTo>
                  <a:cubicBezTo>
                    <a:pt x="256" y="1159"/>
                    <a:pt x="303" y="1159"/>
                    <a:pt x="350" y="1158"/>
                  </a:cubicBezTo>
                  <a:cubicBezTo>
                    <a:pt x="389" y="1156"/>
                    <a:pt x="425" y="1109"/>
                    <a:pt x="430" y="1054"/>
                  </a:cubicBezTo>
                  <a:cubicBezTo>
                    <a:pt x="442" y="922"/>
                    <a:pt x="453" y="791"/>
                    <a:pt x="465" y="661"/>
                  </a:cubicBezTo>
                  <a:cubicBezTo>
                    <a:pt x="465" y="661"/>
                    <a:pt x="465" y="661"/>
                    <a:pt x="465" y="661"/>
                  </a:cubicBezTo>
                  <a:lnTo>
                    <a:pt x="465" y="1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E" sz="1600">
                <a:latin typeface="Calibri" panose="020F0502020204030204" pitchFamily="34" charset="0"/>
              </a:endParaRPr>
            </a:p>
          </p:txBody>
        </p:sp>
        <p:sp>
          <p:nvSpPr>
            <p:cNvPr id="31" name="Freeform 67"/>
            <p:cNvSpPr>
              <a:spLocks/>
            </p:cNvSpPr>
            <p:nvPr/>
          </p:nvSpPr>
          <p:spPr bwMode="auto">
            <a:xfrm>
              <a:off x="2162176" y="5308600"/>
              <a:ext cx="446088" cy="619125"/>
            </a:xfrm>
            <a:custGeom>
              <a:avLst/>
              <a:gdLst>
                <a:gd name="T0" fmla="*/ 755 w 879"/>
                <a:gd name="T1" fmla="*/ 108 h 1220"/>
                <a:gd name="T2" fmla="*/ 531 w 879"/>
                <a:gd name="T3" fmla="*/ 108 h 1220"/>
                <a:gd name="T4" fmla="*/ 407 w 879"/>
                <a:gd name="T5" fmla="*/ 0 h 1220"/>
                <a:gd name="T6" fmla="*/ 324 w 879"/>
                <a:gd name="T7" fmla="*/ 0 h 1220"/>
                <a:gd name="T8" fmla="*/ 201 w 879"/>
                <a:gd name="T9" fmla="*/ 108 h 1220"/>
                <a:gd name="T10" fmla="*/ 0 w 879"/>
                <a:gd name="T11" fmla="*/ 108 h 1220"/>
                <a:gd name="T12" fmla="*/ 9 w 879"/>
                <a:gd name="T13" fmla="*/ 174 h 1220"/>
                <a:gd name="T14" fmla="*/ 8 w 879"/>
                <a:gd name="T15" fmla="*/ 191 h 1220"/>
                <a:gd name="T16" fmla="*/ 252 w 879"/>
                <a:gd name="T17" fmla="*/ 191 h 1220"/>
                <a:gd name="T18" fmla="*/ 285 w 879"/>
                <a:gd name="T19" fmla="*/ 191 h 1220"/>
                <a:gd name="T20" fmla="*/ 446 w 879"/>
                <a:gd name="T21" fmla="*/ 191 h 1220"/>
                <a:gd name="T22" fmla="*/ 490 w 879"/>
                <a:gd name="T23" fmla="*/ 191 h 1220"/>
                <a:gd name="T24" fmla="*/ 755 w 879"/>
                <a:gd name="T25" fmla="*/ 191 h 1220"/>
                <a:gd name="T26" fmla="*/ 796 w 879"/>
                <a:gd name="T27" fmla="*/ 238 h 1220"/>
                <a:gd name="T28" fmla="*/ 796 w 879"/>
                <a:gd name="T29" fmla="*/ 1090 h 1220"/>
                <a:gd name="T30" fmla="*/ 755 w 879"/>
                <a:gd name="T31" fmla="*/ 1137 h 1220"/>
                <a:gd name="T32" fmla="*/ 23 w 879"/>
                <a:gd name="T33" fmla="*/ 1137 h 1220"/>
                <a:gd name="T34" fmla="*/ 16 w 879"/>
                <a:gd name="T35" fmla="*/ 1220 h 1220"/>
                <a:gd name="T36" fmla="*/ 755 w 879"/>
                <a:gd name="T37" fmla="*/ 1220 h 1220"/>
                <a:gd name="T38" fmla="*/ 879 w 879"/>
                <a:gd name="T39" fmla="*/ 1090 h 1220"/>
                <a:gd name="T40" fmla="*/ 879 w 879"/>
                <a:gd name="T41" fmla="*/ 238 h 1220"/>
                <a:gd name="T42" fmla="*/ 755 w 879"/>
                <a:gd name="T43" fmla="*/ 108 h 1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9" h="1220">
                  <a:moveTo>
                    <a:pt x="755" y="108"/>
                  </a:moveTo>
                  <a:cubicBezTo>
                    <a:pt x="531" y="108"/>
                    <a:pt x="531" y="108"/>
                    <a:pt x="531" y="108"/>
                  </a:cubicBezTo>
                  <a:cubicBezTo>
                    <a:pt x="522" y="47"/>
                    <a:pt x="470" y="0"/>
                    <a:pt x="407" y="0"/>
                  </a:cubicBezTo>
                  <a:cubicBezTo>
                    <a:pt x="324" y="0"/>
                    <a:pt x="324" y="0"/>
                    <a:pt x="324" y="0"/>
                  </a:cubicBezTo>
                  <a:cubicBezTo>
                    <a:pt x="261" y="0"/>
                    <a:pt x="209" y="47"/>
                    <a:pt x="201" y="108"/>
                  </a:cubicBezTo>
                  <a:cubicBezTo>
                    <a:pt x="0" y="108"/>
                    <a:pt x="0" y="108"/>
                    <a:pt x="0" y="108"/>
                  </a:cubicBezTo>
                  <a:cubicBezTo>
                    <a:pt x="5" y="129"/>
                    <a:pt x="9" y="151"/>
                    <a:pt x="9" y="174"/>
                  </a:cubicBezTo>
                  <a:cubicBezTo>
                    <a:pt x="9" y="180"/>
                    <a:pt x="8" y="185"/>
                    <a:pt x="8" y="191"/>
                  </a:cubicBezTo>
                  <a:cubicBezTo>
                    <a:pt x="252" y="191"/>
                    <a:pt x="252" y="191"/>
                    <a:pt x="252" y="191"/>
                  </a:cubicBezTo>
                  <a:cubicBezTo>
                    <a:pt x="285" y="191"/>
                    <a:pt x="285" y="191"/>
                    <a:pt x="285" y="191"/>
                  </a:cubicBezTo>
                  <a:cubicBezTo>
                    <a:pt x="446" y="191"/>
                    <a:pt x="446" y="191"/>
                    <a:pt x="446" y="191"/>
                  </a:cubicBezTo>
                  <a:cubicBezTo>
                    <a:pt x="490" y="191"/>
                    <a:pt x="490" y="191"/>
                    <a:pt x="490" y="191"/>
                  </a:cubicBezTo>
                  <a:cubicBezTo>
                    <a:pt x="755" y="191"/>
                    <a:pt x="755" y="191"/>
                    <a:pt x="755" y="191"/>
                  </a:cubicBezTo>
                  <a:cubicBezTo>
                    <a:pt x="778" y="191"/>
                    <a:pt x="796" y="212"/>
                    <a:pt x="796" y="238"/>
                  </a:cubicBezTo>
                  <a:cubicBezTo>
                    <a:pt x="796" y="1090"/>
                    <a:pt x="796" y="1090"/>
                    <a:pt x="796" y="1090"/>
                  </a:cubicBezTo>
                  <a:cubicBezTo>
                    <a:pt x="796" y="1116"/>
                    <a:pt x="778" y="1137"/>
                    <a:pt x="755" y="1137"/>
                  </a:cubicBezTo>
                  <a:cubicBezTo>
                    <a:pt x="23" y="1137"/>
                    <a:pt x="23" y="1137"/>
                    <a:pt x="23" y="1137"/>
                  </a:cubicBezTo>
                  <a:cubicBezTo>
                    <a:pt x="21" y="1165"/>
                    <a:pt x="18" y="1193"/>
                    <a:pt x="16" y="1220"/>
                  </a:cubicBezTo>
                  <a:cubicBezTo>
                    <a:pt x="755" y="1220"/>
                    <a:pt x="755" y="1220"/>
                    <a:pt x="755" y="1220"/>
                  </a:cubicBezTo>
                  <a:cubicBezTo>
                    <a:pt x="824" y="1220"/>
                    <a:pt x="879" y="1162"/>
                    <a:pt x="879" y="1090"/>
                  </a:cubicBezTo>
                  <a:cubicBezTo>
                    <a:pt x="879" y="238"/>
                    <a:pt x="879" y="238"/>
                    <a:pt x="879" y="238"/>
                  </a:cubicBezTo>
                  <a:cubicBezTo>
                    <a:pt x="879" y="166"/>
                    <a:pt x="824" y="108"/>
                    <a:pt x="755"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E" sz="1600">
                <a:latin typeface="Calibri" panose="020F0502020204030204" pitchFamily="34" charset="0"/>
              </a:endParaRPr>
            </a:p>
          </p:txBody>
        </p:sp>
      </p:grpSp>
      <p:sp>
        <p:nvSpPr>
          <p:cNvPr id="32" name="Freeform 30"/>
          <p:cNvSpPr>
            <a:spLocks/>
          </p:cNvSpPr>
          <p:nvPr/>
        </p:nvSpPr>
        <p:spPr bwMode="auto">
          <a:xfrm rot="16200000">
            <a:off x="6724181" y="2395517"/>
            <a:ext cx="447525" cy="690292"/>
          </a:xfrm>
          <a:custGeom>
            <a:avLst/>
            <a:gdLst>
              <a:gd name="T0" fmla="*/ 5302480 w 855"/>
              <a:gd name="T1" fmla="*/ 2147483647 h 627"/>
              <a:gd name="T2" fmla="*/ 18068655 w 855"/>
              <a:gd name="T3" fmla="*/ 2147483647 h 627"/>
              <a:gd name="T4" fmla="*/ 20120468 w 855"/>
              <a:gd name="T5" fmla="*/ 2147483647 h 627"/>
              <a:gd name="T6" fmla="*/ 21997386 w 855"/>
              <a:gd name="T7" fmla="*/ 2147483647 h 627"/>
              <a:gd name="T8" fmla="*/ 23856788 w 855"/>
              <a:gd name="T9" fmla="*/ 2147483647 h 627"/>
              <a:gd name="T10" fmla="*/ 19986604 w 855"/>
              <a:gd name="T11" fmla="*/ 2147483647 h 627"/>
              <a:gd name="T12" fmla="*/ 19052815 w 855"/>
              <a:gd name="T13" fmla="*/ 2147483647 h 627"/>
              <a:gd name="T14" fmla="*/ 18011923 w 855"/>
              <a:gd name="T15" fmla="*/ 2147483647 h 627"/>
              <a:gd name="T16" fmla="*/ 16821314 w 855"/>
              <a:gd name="T17" fmla="*/ 2147483647 h 627"/>
              <a:gd name="T18" fmla="*/ 15572719 w 855"/>
              <a:gd name="T19" fmla="*/ 2147483647 h 627"/>
              <a:gd name="T20" fmla="*/ 14276284 w 855"/>
              <a:gd name="T21" fmla="*/ 2147483647 h 627"/>
              <a:gd name="T22" fmla="*/ 12844820 w 855"/>
              <a:gd name="T23" fmla="*/ 2147483647 h 627"/>
              <a:gd name="T24" fmla="*/ 11393088 w 855"/>
              <a:gd name="T25" fmla="*/ 2147483647 h 627"/>
              <a:gd name="T26" fmla="*/ 9888534 w 855"/>
              <a:gd name="T27" fmla="*/ 2147483647 h 627"/>
              <a:gd name="T28" fmla="*/ 8297297 w 855"/>
              <a:gd name="T29" fmla="*/ 2147483647 h 627"/>
              <a:gd name="T30" fmla="*/ 6695248 w 855"/>
              <a:gd name="T31" fmla="*/ 2147483647 h 627"/>
              <a:gd name="T32" fmla="*/ 5104431 w 855"/>
              <a:gd name="T33" fmla="*/ 2147483647 h 627"/>
              <a:gd name="T34" fmla="*/ 3431821 w 855"/>
              <a:gd name="T35" fmla="*/ 1594791371 h 627"/>
              <a:gd name="T36" fmla="*/ 1677210 w 855"/>
              <a:gd name="T37" fmla="*/ 1 h 627"/>
              <a:gd name="T38" fmla="*/ 0 w 855"/>
              <a:gd name="T39" fmla="*/ 0 h 627"/>
              <a:gd name="T40" fmla="*/ 4555625 w 855"/>
              <a:gd name="T41" fmla="*/ 2147483647 h 627"/>
              <a:gd name="T42" fmla="*/ 1700142 w 855"/>
              <a:gd name="T43" fmla="*/ 2147483647 h 627"/>
              <a:gd name="T44" fmla="*/ 2890350 w 855"/>
              <a:gd name="T45" fmla="*/ 2147483647 h 627"/>
              <a:gd name="T46" fmla="*/ 3980498 w 855"/>
              <a:gd name="T47" fmla="*/ 2147483647 h 627"/>
              <a:gd name="T48" fmla="*/ 5104431 w 855"/>
              <a:gd name="T49" fmla="*/ 2147483647 h 627"/>
              <a:gd name="T50" fmla="*/ 6077373 w 855"/>
              <a:gd name="T51" fmla="*/ 2147483647 h 627"/>
              <a:gd name="T52" fmla="*/ 7053067 w 855"/>
              <a:gd name="T53" fmla="*/ 2147483647 h 627"/>
              <a:gd name="T54" fmla="*/ 7933782 w 855"/>
              <a:gd name="T55" fmla="*/ 2147483647 h 627"/>
              <a:gd name="T56" fmla="*/ 8802287 w 855"/>
              <a:gd name="T57" fmla="*/ 2147483647 h 627"/>
              <a:gd name="T58" fmla="*/ 9578845 w 855"/>
              <a:gd name="T59" fmla="*/ 2147483647 h 627"/>
              <a:gd name="T60" fmla="*/ 5302480 w 855"/>
              <a:gd name="T61" fmla="*/ 2147483647 h 62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55"/>
              <a:gd name="T94" fmla="*/ 0 h 627"/>
              <a:gd name="T95" fmla="*/ 855 w 855"/>
              <a:gd name="T96" fmla="*/ 627 h 627"/>
              <a:gd name="connsiteX0" fmla="*/ 2222 w 9988"/>
              <a:gd name="connsiteY0" fmla="*/ 9968 h 9984"/>
              <a:gd name="connsiteX1" fmla="*/ 7567 w 9988"/>
              <a:gd name="connsiteY1" fmla="*/ 9984 h 9984"/>
              <a:gd name="connsiteX2" fmla="*/ 8421 w 9988"/>
              <a:gd name="connsiteY2" fmla="*/ 8166 h 9984"/>
              <a:gd name="connsiteX3" fmla="*/ 9216 w 9988"/>
              <a:gd name="connsiteY3" fmla="*/ 6348 h 9984"/>
              <a:gd name="connsiteX4" fmla="*/ 9988 w 9988"/>
              <a:gd name="connsiteY4" fmla="*/ 4450 h 9984"/>
              <a:gd name="connsiteX5" fmla="*/ 8386 w 9988"/>
              <a:gd name="connsiteY5" fmla="*/ 5598 h 9984"/>
              <a:gd name="connsiteX6" fmla="*/ 7977 w 9988"/>
              <a:gd name="connsiteY6" fmla="*/ 4896 h 9984"/>
              <a:gd name="connsiteX7" fmla="*/ 7544 w 9988"/>
              <a:gd name="connsiteY7" fmla="*/ 4211 h 9984"/>
              <a:gd name="connsiteX8" fmla="*/ 7053 w 9988"/>
              <a:gd name="connsiteY8" fmla="*/ 3573 h 9984"/>
              <a:gd name="connsiteX9" fmla="*/ 6526 w 9988"/>
              <a:gd name="connsiteY9" fmla="*/ 2982 h 9984"/>
              <a:gd name="connsiteX10" fmla="*/ 5977 w 9988"/>
              <a:gd name="connsiteY10" fmla="*/ 2440 h 9984"/>
              <a:gd name="connsiteX11" fmla="*/ 5380 w 9988"/>
              <a:gd name="connsiteY11" fmla="*/ 1946 h 9984"/>
              <a:gd name="connsiteX12" fmla="*/ 4772 w 9988"/>
              <a:gd name="connsiteY12" fmla="*/ 1499 h 9984"/>
              <a:gd name="connsiteX13" fmla="*/ 4140 w 9988"/>
              <a:gd name="connsiteY13" fmla="*/ 1100 h 9984"/>
              <a:gd name="connsiteX14" fmla="*/ 3485 w 9988"/>
              <a:gd name="connsiteY14" fmla="*/ 781 h 9984"/>
              <a:gd name="connsiteX15" fmla="*/ 2807 w 9988"/>
              <a:gd name="connsiteY15" fmla="*/ 494 h 9984"/>
              <a:gd name="connsiteX16" fmla="*/ 2129 w 9988"/>
              <a:gd name="connsiteY16" fmla="*/ 271 h 9984"/>
              <a:gd name="connsiteX17" fmla="*/ 1427 w 9988"/>
              <a:gd name="connsiteY17" fmla="*/ 112 h 9984"/>
              <a:gd name="connsiteX18" fmla="*/ 713 w 9988"/>
              <a:gd name="connsiteY18" fmla="*/ 16 h 9984"/>
              <a:gd name="connsiteX19" fmla="*/ 0 w 9988"/>
              <a:gd name="connsiteY19" fmla="*/ 0 h 9984"/>
              <a:gd name="connsiteX20" fmla="*/ 1895 w 9988"/>
              <a:gd name="connsiteY20" fmla="*/ 2887 h 9984"/>
              <a:gd name="connsiteX21" fmla="*/ 95 w 9988"/>
              <a:gd name="connsiteY21" fmla="*/ 6541 h 9984"/>
              <a:gd name="connsiteX22" fmla="*/ 1205 w 9988"/>
              <a:gd name="connsiteY22" fmla="*/ 6364 h 9984"/>
              <a:gd name="connsiteX23" fmla="*/ 1673 w 9988"/>
              <a:gd name="connsiteY23" fmla="*/ 6555 h 9984"/>
              <a:gd name="connsiteX24" fmla="*/ 2129 w 9988"/>
              <a:gd name="connsiteY24" fmla="*/ 6794 h 9984"/>
              <a:gd name="connsiteX25" fmla="*/ 2550 w 9988"/>
              <a:gd name="connsiteY25" fmla="*/ 7081 h 9984"/>
              <a:gd name="connsiteX26" fmla="*/ 2959 w 9988"/>
              <a:gd name="connsiteY26" fmla="*/ 7432 h 9984"/>
              <a:gd name="connsiteX27" fmla="*/ 3333 w 9988"/>
              <a:gd name="connsiteY27" fmla="*/ 7815 h 9984"/>
              <a:gd name="connsiteX28" fmla="*/ 3684 w 9988"/>
              <a:gd name="connsiteY28" fmla="*/ 8230 h 9984"/>
              <a:gd name="connsiteX29" fmla="*/ 4012 w 9988"/>
              <a:gd name="connsiteY29" fmla="*/ 8692 h 9984"/>
              <a:gd name="connsiteX30" fmla="*/ 2222 w 9988"/>
              <a:gd name="connsiteY30" fmla="*/ 9968 h 9984"/>
              <a:gd name="connsiteX0" fmla="*/ 2225 w 10000"/>
              <a:gd name="connsiteY0" fmla="*/ 9984 h 10000"/>
              <a:gd name="connsiteX1" fmla="*/ 7576 w 10000"/>
              <a:gd name="connsiteY1" fmla="*/ 10000 h 10000"/>
              <a:gd name="connsiteX2" fmla="*/ 8431 w 10000"/>
              <a:gd name="connsiteY2" fmla="*/ 8179 h 10000"/>
              <a:gd name="connsiteX3" fmla="*/ 9227 w 10000"/>
              <a:gd name="connsiteY3" fmla="*/ 6358 h 10000"/>
              <a:gd name="connsiteX4" fmla="*/ 10000 w 10000"/>
              <a:gd name="connsiteY4" fmla="*/ 4457 h 10000"/>
              <a:gd name="connsiteX5" fmla="*/ 8396 w 10000"/>
              <a:gd name="connsiteY5" fmla="*/ 5607 h 10000"/>
              <a:gd name="connsiteX6" fmla="*/ 7987 w 10000"/>
              <a:gd name="connsiteY6" fmla="*/ 4904 h 10000"/>
              <a:gd name="connsiteX7" fmla="*/ 7553 w 10000"/>
              <a:gd name="connsiteY7" fmla="*/ 4218 h 10000"/>
              <a:gd name="connsiteX8" fmla="*/ 7061 w 10000"/>
              <a:gd name="connsiteY8" fmla="*/ 3579 h 10000"/>
              <a:gd name="connsiteX9" fmla="*/ 6534 w 10000"/>
              <a:gd name="connsiteY9" fmla="*/ 2987 h 10000"/>
              <a:gd name="connsiteX10" fmla="*/ 5984 w 10000"/>
              <a:gd name="connsiteY10" fmla="*/ 2444 h 10000"/>
              <a:gd name="connsiteX11" fmla="*/ 5386 w 10000"/>
              <a:gd name="connsiteY11" fmla="*/ 1949 h 10000"/>
              <a:gd name="connsiteX12" fmla="*/ 4778 w 10000"/>
              <a:gd name="connsiteY12" fmla="*/ 1501 h 10000"/>
              <a:gd name="connsiteX13" fmla="*/ 4145 w 10000"/>
              <a:gd name="connsiteY13" fmla="*/ 1102 h 10000"/>
              <a:gd name="connsiteX14" fmla="*/ 3489 w 10000"/>
              <a:gd name="connsiteY14" fmla="*/ 782 h 10000"/>
              <a:gd name="connsiteX15" fmla="*/ 2810 w 10000"/>
              <a:gd name="connsiteY15" fmla="*/ 495 h 10000"/>
              <a:gd name="connsiteX16" fmla="*/ 2132 w 10000"/>
              <a:gd name="connsiteY16" fmla="*/ 271 h 10000"/>
              <a:gd name="connsiteX17" fmla="*/ 1429 w 10000"/>
              <a:gd name="connsiteY17" fmla="*/ 112 h 10000"/>
              <a:gd name="connsiteX18" fmla="*/ 714 w 10000"/>
              <a:gd name="connsiteY18" fmla="*/ 16 h 10000"/>
              <a:gd name="connsiteX19" fmla="*/ 0 w 10000"/>
              <a:gd name="connsiteY19" fmla="*/ 0 h 10000"/>
              <a:gd name="connsiteX20" fmla="*/ 987 w 10000"/>
              <a:gd name="connsiteY20" fmla="*/ 3182 h 10000"/>
              <a:gd name="connsiteX21" fmla="*/ 95 w 10000"/>
              <a:gd name="connsiteY21" fmla="*/ 6551 h 10000"/>
              <a:gd name="connsiteX22" fmla="*/ 1206 w 10000"/>
              <a:gd name="connsiteY22" fmla="*/ 6374 h 10000"/>
              <a:gd name="connsiteX23" fmla="*/ 1675 w 10000"/>
              <a:gd name="connsiteY23" fmla="*/ 6566 h 10000"/>
              <a:gd name="connsiteX24" fmla="*/ 2132 w 10000"/>
              <a:gd name="connsiteY24" fmla="*/ 6805 h 10000"/>
              <a:gd name="connsiteX25" fmla="*/ 2553 w 10000"/>
              <a:gd name="connsiteY25" fmla="*/ 7092 h 10000"/>
              <a:gd name="connsiteX26" fmla="*/ 2963 w 10000"/>
              <a:gd name="connsiteY26" fmla="*/ 7444 h 10000"/>
              <a:gd name="connsiteX27" fmla="*/ 3337 w 10000"/>
              <a:gd name="connsiteY27" fmla="*/ 7828 h 10000"/>
              <a:gd name="connsiteX28" fmla="*/ 3688 w 10000"/>
              <a:gd name="connsiteY28" fmla="*/ 8243 h 10000"/>
              <a:gd name="connsiteX29" fmla="*/ 4017 w 10000"/>
              <a:gd name="connsiteY29" fmla="*/ 8706 h 10000"/>
              <a:gd name="connsiteX30" fmla="*/ 2225 w 10000"/>
              <a:gd name="connsiteY30" fmla="*/ 9984 h 10000"/>
              <a:gd name="connsiteX0" fmla="*/ 2540 w 10315"/>
              <a:gd name="connsiteY0" fmla="*/ 9984 h 10000"/>
              <a:gd name="connsiteX1" fmla="*/ 7891 w 10315"/>
              <a:gd name="connsiteY1" fmla="*/ 10000 h 10000"/>
              <a:gd name="connsiteX2" fmla="*/ 8746 w 10315"/>
              <a:gd name="connsiteY2" fmla="*/ 8179 h 10000"/>
              <a:gd name="connsiteX3" fmla="*/ 9542 w 10315"/>
              <a:gd name="connsiteY3" fmla="*/ 6358 h 10000"/>
              <a:gd name="connsiteX4" fmla="*/ 10315 w 10315"/>
              <a:gd name="connsiteY4" fmla="*/ 4457 h 10000"/>
              <a:gd name="connsiteX5" fmla="*/ 8711 w 10315"/>
              <a:gd name="connsiteY5" fmla="*/ 5607 h 10000"/>
              <a:gd name="connsiteX6" fmla="*/ 8302 w 10315"/>
              <a:gd name="connsiteY6" fmla="*/ 4904 h 10000"/>
              <a:gd name="connsiteX7" fmla="*/ 7868 w 10315"/>
              <a:gd name="connsiteY7" fmla="*/ 4218 h 10000"/>
              <a:gd name="connsiteX8" fmla="*/ 7376 w 10315"/>
              <a:gd name="connsiteY8" fmla="*/ 3579 h 10000"/>
              <a:gd name="connsiteX9" fmla="*/ 6849 w 10315"/>
              <a:gd name="connsiteY9" fmla="*/ 2987 h 10000"/>
              <a:gd name="connsiteX10" fmla="*/ 6299 w 10315"/>
              <a:gd name="connsiteY10" fmla="*/ 2444 h 10000"/>
              <a:gd name="connsiteX11" fmla="*/ 5701 w 10315"/>
              <a:gd name="connsiteY11" fmla="*/ 1949 h 10000"/>
              <a:gd name="connsiteX12" fmla="*/ 5093 w 10315"/>
              <a:gd name="connsiteY12" fmla="*/ 1501 h 10000"/>
              <a:gd name="connsiteX13" fmla="*/ 4460 w 10315"/>
              <a:gd name="connsiteY13" fmla="*/ 1102 h 10000"/>
              <a:gd name="connsiteX14" fmla="*/ 3804 w 10315"/>
              <a:gd name="connsiteY14" fmla="*/ 782 h 10000"/>
              <a:gd name="connsiteX15" fmla="*/ 3125 w 10315"/>
              <a:gd name="connsiteY15" fmla="*/ 495 h 10000"/>
              <a:gd name="connsiteX16" fmla="*/ 2447 w 10315"/>
              <a:gd name="connsiteY16" fmla="*/ 271 h 10000"/>
              <a:gd name="connsiteX17" fmla="*/ 1744 w 10315"/>
              <a:gd name="connsiteY17" fmla="*/ 112 h 10000"/>
              <a:gd name="connsiteX18" fmla="*/ 1029 w 10315"/>
              <a:gd name="connsiteY18" fmla="*/ 16 h 10000"/>
              <a:gd name="connsiteX19" fmla="*/ 0 w 10315"/>
              <a:gd name="connsiteY19" fmla="*/ 0 h 10000"/>
              <a:gd name="connsiteX20" fmla="*/ 1302 w 10315"/>
              <a:gd name="connsiteY20" fmla="*/ 3182 h 10000"/>
              <a:gd name="connsiteX21" fmla="*/ 410 w 10315"/>
              <a:gd name="connsiteY21" fmla="*/ 6551 h 10000"/>
              <a:gd name="connsiteX22" fmla="*/ 1521 w 10315"/>
              <a:gd name="connsiteY22" fmla="*/ 6374 h 10000"/>
              <a:gd name="connsiteX23" fmla="*/ 1990 w 10315"/>
              <a:gd name="connsiteY23" fmla="*/ 6566 h 10000"/>
              <a:gd name="connsiteX24" fmla="*/ 2447 w 10315"/>
              <a:gd name="connsiteY24" fmla="*/ 6805 h 10000"/>
              <a:gd name="connsiteX25" fmla="*/ 2868 w 10315"/>
              <a:gd name="connsiteY25" fmla="*/ 7092 h 10000"/>
              <a:gd name="connsiteX26" fmla="*/ 3278 w 10315"/>
              <a:gd name="connsiteY26" fmla="*/ 7444 h 10000"/>
              <a:gd name="connsiteX27" fmla="*/ 3652 w 10315"/>
              <a:gd name="connsiteY27" fmla="*/ 7828 h 10000"/>
              <a:gd name="connsiteX28" fmla="*/ 4003 w 10315"/>
              <a:gd name="connsiteY28" fmla="*/ 8243 h 10000"/>
              <a:gd name="connsiteX29" fmla="*/ 4332 w 10315"/>
              <a:gd name="connsiteY29" fmla="*/ 8706 h 10000"/>
              <a:gd name="connsiteX30" fmla="*/ 2540 w 10315"/>
              <a:gd name="connsiteY30"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1601 w 10395"/>
              <a:gd name="connsiteY22" fmla="*/ 6374 h 10000"/>
              <a:gd name="connsiteX23" fmla="*/ 2070 w 10395"/>
              <a:gd name="connsiteY23" fmla="*/ 6566 h 10000"/>
              <a:gd name="connsiteX24" fmla="*/ 2527 w 10395"/>
              <a:gd name="connsiteY24" fmla="*/ 6805 h 10000"/>
              <a:gd name="connsiteX25" fmla="*/ 2948 w 10395"/>
              <a:gd name="connsiteY25" fmla="*/ 7092 h 10000"/>
              <a:gd name="connsiteX26" fmla="*/ 3358 w 10395"/>
              <a:gd name="connsiteY26" fmla="*/ 7444 h 10000"/>
              <a:gd name="connsiteX27" fmla="*/ 3732 w 10395"/>
              <a:gd name="connsiteY27" fmla="*/ 7828 h 10000"/>
              <a:gd name="connsiteX28" fmla="*/ 4083 w 10395"/>
              <a:gd name="connsiteY28" fmla="*/ 8243 h 10000"/>
              <a:gd name="connsiteX29" fmla="*/ 4412 w 10395"/>
              <a:gd name="connsiteY29" fmla="*/ 8706 h 10000"/>
              <a:gd name="connsiteX30" fmla="*/ 2620 w 10395"/>
              <a:gd name="connsiteY30"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1601 w 10395"/>
              <a:gd name="connsiteY22" fmla="*/ 6772 h 10000"/>
              <a:gd name="connsiteX23" fmla="*/ 2070 w 10395"/>
              <a:gd name="connsiteY23" fmla="*/ 6566 h 10000"/>
              <a:gd name="connsiteX24" fmla="*/ 2527 w 10395"/>
              <a:gd name="connsiteY24" fmla="*/ 6805 h 10000"/>
              <a:gd name="connsiteX25" fmla="*/ 2948 w 10395"/>
              <a:gd name="connsiteY25" fmla="*/ 7092 h 10000"/>
              <a:gd name="connsiteX26" fmla="*/ 3358 w 10395"/>
              <a:gd name="connsiteY26" fmla="*/ 7444 h 10000"/>
              <a:gd name="connsiteX27" fmla="*/ 3732 w 10395"/>
              <a:gd name="connsiteY27" fmla="*/ 7828 h 10000"/>
              <a:gd name="connsiteX28" fmla="*/ 4083 w 10395"/>
              <a:gd name="connsiteY28" fmla="*/ 8243 h 10000"/>
              <a:gd name="connsiteX29" fmla="*/ 4412 w 10395"/>
              <a:gd name="connsiteY29" fmla="*/ 8706 h 10000"/>
              <a:gd name="connsiteX30" fmla="*/ 2620 w 10395"/>
              <a:gd name="connsiteY30"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1601 w 10395"/>
              <a:gd name="connsiteY22" fmla="*/ 6772 h 10000"/>
              <a:gd name="connsiteX23" fmla="*/ 2070 w 10395"/>
              <a:gd name="connsiteY23" fmla="*/ 7145 h 10000"/>
              <a:gd name="connsiteX24" fmla="*/ 2527 w 10395"/>
              <a:gd name="connsiteY24" fmla="*/ 6805 h 10000"/>
              <a:gd name="connsiteX25" fmla="*/ 2948 w 10395"/>
              <a:gd name="connsiteY25" fmla="*/ 7092 h 10000"/>
              <a:gd name="connsiteX26" fmla="*/ 3358 w 10395"/>
              <a:gd name="connsiteY26" fmla="*/ 7444 h 10000"/>
              <a:gd name="connsiteX27" fmla="*/ 3732 w 10395"/>
              <a:gd name="connsiteY27" fmla="*/ 7828 h 10000"/>
              <a:gd name="connsiteX28" fmla="*/ 4083 w 10395"/>
              <a:gd name="connsiteY28" fmla="*/ 8243 h 10000"/>
              <a:gd name="connsiteX29" fmla="*/ 4412 w 10395"/>
              <a:gd name="connsiteY29" fmla="*/ 8706 h 10000"/>
              <a:gd name="connsiteX30" fmla="*/ 2620 w 10395"/>
              <a:gd name="connsiteY30"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1601 w 10395"/>
              <a:gd name="connsiteY22" fmla="*/ 6772 h 10000"/>
              <a:gd name="connsiteX23" fmla="*/ 2070 w 10395"/>
              <a:gd name="connsiteY23" fmla="*/ 7145 h 10000"/>
              <a:gd name="connsiteX24" fmla="*/ 2492 w 10395"/>
              <a:gd name="connsiteY24" fmla="*/ 7384 h 10000"/>
              <a:gd name="connsiteX25" fmla="*/ 2948 w 10395"/>
              <a:gd name="connsiteY25" fmla="*/ 7092 h 10000"/>
              <a:gd name="connsiteX26" fmla="*/ 3358 w 10395"/>
              <a:gd name="connsiteY26" fmla="*/ 7444 h 10000"/>
              <a:gd name="connsiteX27" fmla="*/ 3732 w 10395"/>
              <a:gd name="connsiteY27" fmla="*/ 7828 h 10000"/>
              <a:gd name="connsiteX28" fmla="*/ 4083 w 10395"/>
              <a:gd name="connsiteY28" fmla="*/ 8243 h 10000"/>
              <a:gd name="connsiteX29" fmla="*/ 4412 w 10395"/>
              <a:gd name="connsiteY29" fmla="*/ 8706 h 10000"/>
              <a:gd name="connsiteX30" fmla="*/ 2620 w 10395"/>
              <a:gd name="connsiteY30"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1601 w 10395"/>
              <a:gd name="connsiteY22" fmla="*/ 6772 h 10000"/>
              <a:gd name="connsiteX23" fmla="*/ 2070 w 10395"/>
              <a:gd name="connsiteY23" fmla="*/ 7145 h 10000"/>
              <a:gd name="connsiteX24" fmla="*/ 2492 w 10395"/>
              <a:gd name="connsiteY24" fmla="*/ 7384 h 10000"/>
              <a:gd name="connsiteX25" fmla="*/ 2843 w 10395"/>
              <a:gd name="connsiteY25" fmla="*/ 7743 h 10000"/>
              <a:gd name="connsiteX26" fmla="*/ 3358 w 10395"/>
              <a:gd name="connsiteY26" fmla="*/ 7444 h 10000"/>
              <a:gd name="connsiteX27" fmla="*/ 3732 w 10395"/>
              <a:gd name="connsiteY27" fmla="*/ 7828 h 10000"/>
              <a:gd name="connsiteX28" fmla="*/ 4083 w 10395"/>
              <a:gd name="connsiteY28" fmla="*/ 8243 h 10000"/>
              <a:gd name="connsiteX29" fmla="*/ 4412 w 10395"/>
              <a:gd name="connsiteY29" fmla="*/ 8706 h 10000"/>
              <a:gd name="connsiteX30" fmla="*/ 2620 w 10395"/>
              <a:gd name="connsiteY30"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1601 w 10395"/>
              <a:gd name="connsiteY22" fmla="*/ 6772 h 10000"/>
              <a:gd name="connsiteX23" fmla="*/ 2070 w 10395"/>
              <a:gd name="connsiteY23" fmla="*/ 7145 h 10000"/>
              <a:gd name="connsiteX24" fmla="*/ 2492 w 10395"/>
              <a:gd name="connsiteY24" fmla="*/ 7384 h 10000"/>
              <a:gd name="connsiteX25" fmla="*/ 2843 w 10395"/>
              <a:gd name="connsiteY25" fmla="*/ 7743 h 10000"/>
              <a:gd name="connsiteX26" fmla="*/ 3113 w 10395"/>
              <a:gd name="connsiteY26" fmla="*/ 8132 h 10000"/>
              <a:gd name="connsiteX27" fmla="*/ 3732 w 10395"/>
              <a:gd name="connsiteY27" fmla="*/ 7828 h 10000"/>
              <a:gd name="connsiteX28" fmla="*/ 4083 w 10395"/>
              <a:gd name="connsiteY28" fmla="*/ 8243 h 10000"/>
              <a:gd name="connsiteX29" fmla="*/ 4412 w 10395"/>
              <a:gd name="connsiteY29" fmla="*/ 8706 h 10000"/>
              <a:gd name="connsiteX30" fmla="*/ 2620 w 10395"/>
              <a:gd name="connsiteY30"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1601 w 10395"/>
              <a:gd name="connsiteY22" fmla="*/ 6772 h 10000"/>
              <a:gd name="connsiteX23" fmla="*/ 2070 w 10395"/>
              <a:gd name="connsiteY23" fmla="*/ 7145 h 10000"/>
              <a:gd name="connsiteX24" fmla="*/ 2492 w 10395"/>
              <a:gd name="connsiteY24" fmla="*/ 7384 h 10000"/>
              <a:gd name="connsiteX25" fmla="*/ 2843 w 10395"/>
              <a:gd name="connsiteY25" fmla="*/ 7743 h 10000"/>
              <a:gd name="connsiteX26" fmla="*/ 3113 w 10395"/>
              <a:gd name="connsiteY26" fmla="*/ 8132 h 10000"/>
              <a:gd name="connsiteX27" fmla="*/ 3487 w 10395"/>
              <a:gd name="connsiteY27" fmla="*/ 8552 h 10000"/>
              <a:gd name="connsiteX28" fmla="*/ 4083 w 10395"/>
              <a:gd name="connsiteY28" fmla="*/ 8243 h 10000"/>
              <a:gd name="connsiteX29" fmla="*/ 4412 w 10395"/>
              <a:gd name="connsiteY29" fmla="*/ 8706 h 10000"/>
              <a:gd name="connsiteX30" fmla="*/ 2620 w 10395"/>
              <a:gd name="connsiteY30"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1601 w 10395"/>
              <a:gd name="connsiteY22" fmla="*/ 6772 h 10000"/>
              <a:gd name="connsiteX23" fmla="*/ 2070 w 10395"/>
              <a:gd name="connsiteY23" fmla="*/ 7145 h 10000"/>
              <a:gd name="connsiteX24" fmla="*/ 2492 w 10395"/>
              <a:gd name="connsiteY24" fmla="*/ 7384 h 10000"/>
              <a:gd name="connsiteX25" fmla="*/ 2843 w 10395"/>
              <a:gd name="connsiteY25" fmla="*/ 7743 h 10000"/>
              <a:gd name="connsiteX26" fmla="*/ 3113 w 10395"/>
              <a:gd name="connsiteY26" fmla="*/ 8132 h 10000"/>
              <a:gd name="connsiteX27" fmla="*/ 3487 w 10395"/>
              <a:gd name="connsiteY27" fmla="*/ 8552 h 10000"/>
              <a:gd name="connsiteX28" fmla="*/ 3663 w 10395"/>
              <a:gd name="connsiteY28" fmla="*/ 8931 h 10000"/>
              <a:gd name="connsiteX29" fmla="*/ 4412 w 10395"/>
              <a:gd name="connsiteY29" fmla="*/ 8706 h 10000"/>
              <a:gd name="connsiteX30" fmla="*/ 2620 w 10395"/>
              <a:gd name="connsiteY30"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1601 w 10395"/>
              <a:gd name="connsiteY22" fmla="*/ 6772 h 10000"/>
              <a:gd name="connsiteX23" fmla="*/ 2070 w 10395"/>
              <a:gd name="connsiteY23" fmla="*/ 7145 h 10000"/>
              <a:gd name="connsiteX24" fmla="*/ 2492 w 10395"/>
              <a:gd name="connsiteY24" fmla="*/ 7384 h 10000"/>
              <a:gd name="connsiteX25" fmla="*/ 2843 w 10395"/>
              <a:gd name="connsiteY25" fmla="*/ 7743 h 10000"/>
              <a:gd name="connsiteX26" fmla="*/ 3113 w 10395"/>
              <a:gd name="connsiteY26" fmla="*/ 8132 h 10000"/>
              <a:gd name="connsiteX27" fmla="*/ 3487 w 10395"/>
              <a:gd name="connsiteY27" fmla="*/ 8552 h 10000"/>
              <a:gd name="connsiteX28" fmla="*/ 3663 w 10395"/>
              <a:gd name="connsiteY28" fmla="*/ 8931 h 10000"/>
              <a:gd name="connsiteX29" fmla="*/ 3852 w 10395"/>
              <a:gd name="connsiteY29" fmla="*/ 9176 h 10000"/>
              <a:gd name="connsiteX30" fmla="*/ 2620 w 10395"/>
              <a:gd name="connsiteY30"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2070 w 10395"/>
              <a:gd name="connsiteY22" fmla="*/ 7145 h 10000"/>
              <a:gd name="connsiteX23" fmla="*/ 2492 w 10395"/>
              <a:gd name="connsiteY23" fmla="*/ 7384 h 10000"/>
              <a:gd name="connsiteX24" fmla="*/ 2843 w 10395"/>
              <a:gd name="connsiteY24" fmla="*/ 7743 h 10000"/>
              <a:gd name="connsiteX25" fmla="*/ 3113 w 10395"/>
              <a:gd name="connsiteY25" fmla="*/ 8132 h 10000"/>
              <a:gd name="connsiteX26" fmla="*/ 3487 w 10395"/>
              <a:gd name="connsiteY26" fmla="*/ 8552 h 10000"/>
              <a:gd name="connsiteX27" fmla="*/ 3663 w 10395"/>
              <a:gd name="connsiteY27" fmla="*/ 8931 h 10000"/>
              <a:gd name="connsiteX28" fmla="*/ 3852 w 10395"/>
              <a:gd name="connsiteY28" fmla="*/ 9176 h 10000"/>
              <a:gd name="connsiteX29" fmla="*/ 2620 w 10395"/>
              <a:gd name="connsiteY29"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2492 w 10395"/>
              <a:gd name="connsiteY22" fmla="*/ 7384 h 10000"/>
              <a:gd name="connsiteX23" fmla="*/ 2843 w 10395"/>
              <a:gd name="connsiteY23" fmla="*/ 7743 h 10000"/>
              <a:gd name="connsiteX24" fmla="*/ 3113 w 10395"/>
              <a:gd name="connsiteY24" fmla="*/ 8132 h 10000"/>
              <a:gd name="connsiteX25" fmla="*/ 3487 w 10395"/>
              <a:gd name="connsiteY25" fmla="*/ 8552 h 10000"/>
              <a:gd name="connsiteX26" fmla="*/ 3663 w 10395"/>
              <a:gd name="connsiteY26" fmla="*/ 8931 h 10000"/>
              <a:gd name="connsiteX27" fmla="*/ 3852 w 10395"/>
              <a:gd name="connsiteY27" fmla="*/ 9176 h 10000"/>
              <a:gd name="connsiteX28" fmla="*/ 2620 w 10395"/>
              <a:gd name="connsiteY28"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2843 w 10395"/>
              <a:gd name="connsiteY22" fmla="*/ 7743 h 10000"/>
              <a:gd name="connsiteX23" fmla="*/ 3113 w 10395"/>
              <a:gd name="connsiteY23" fmla="*/ 8132 h 10000"/>
              <a:gd name="connsiteX24" fmla="*/ 3487 w 10395"/>
              <a:gd name="connsiteY24" fmla="*/ 8552 h 10000"/>
              <a:gd name="connsiteX25" fmla="*/ 3663 w 10395"/>
              <a:gd name="connsiteY25" fmla="*/ 8931 h 10000"/>
              <a:gd name="connsiteX26" fmla="*/ 3852 w 10395"/>
              <a:gd name="connsiteY26" fmla="*/ 9176 h 10000"/>
              <a:gd name="connsiteX27" fmla="*/ 2620 w 10395"/>
              <a:gd name="connsiteY27"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2843 w 10395"/>
              <a:gd name="connsiteY22" fmla="*/ 7743 h 10000"/>
              <a:gd name="connsiteX23" fmla="*/ 3113 w 10395"/>
              <a:gd name="connsiteY23" fmla="*/ 8132 h 10000"/>
              <a:gd name="connsiteX24" fmla="*/ 3487 w 10395"/>
              <a:gd name="connsiteY24" fmla="*/ 8552 h 10000"/>
              <a:gd name="connsiteX25" fmla="*/ 3852 w 10395"/>
              <a:gd name="connsiteY25" fmla="*/ 9176 h 10000"/>
              <a:gd name="connsiteX26" fmla="*/ 2620 w 10395"/>
              <a:gd name="connsiteY26"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2843 w 10395"/>
              <a:gd name="connsiteY22" fmla="*/ 7743 h 10000"/>
              <a:gd name="connsiteX23" fmla="*/ 3113 w 10395"/>
              <a:gd name="connsiteY23" fmla="*/ 8132 h 10000"/>
              <a:gd name="connsiteX24" fmla="*/ 3852 w 10395"/>
              <a:gd name="connsiteY24" fmla="*/ 9176 h 10000"/>
              <a:gd name="connsiteX25" fmla="*/ 2620 w 10395"/>
              <a:gd name="connsiteY25"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2843 w 10395"/>
              <a:gd name="connsiteY22" fmla="*/ 7743 h 10000"/>
              <a:gd name="connsiteX23" fmla="*/ 3852 w 10395"/>
              <a:gd name="connsiteY23" fmla="*/ 9176 h 10000"/>
              <a:gd name="connsiteX24" fmla="*/ 2620 w 10395"/>
              <a:gd name="connsiteY24"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852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852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852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852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852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852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852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852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773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773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773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773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773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773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773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773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909 w 10395"/>
              <a:gd name="connsiteY20" fmla="*/ 3223 h 10000"/>
              <a:gd name="connsiteX21" fmla="*/ 0 w 10395"/>
              <a:gd name="connsiteY21" fmla="*/ 6479 h 10000"/>
              <a:gd name="connsiteX22" fmla="*/ 3773 w 10395"/>
              <a:gd name="connsiteY22" fmla="*/ 9176 h 10000"/>
              <a:gd name="connsiteX23" fmla="*/ 2620 w 10395"/>
              <a:gd name="connsiteY23" fmla="*/ 9984 h 10000"/>
              <a:gd name="connsiteX0" fmla="*/ 2688 w 10463"/>
              <a:gd name="connsiteY0" fmla="*/ 9984 h 10000"/>
              <a:gd name="connsiteX1" fmla="*/ 8039 w 10463"/>
              <a:gd name="connsiteY1" fmla="*/ 10000 h 10000"/>
              <a:gd name="connsiteX2" fmla="*/ 8894 w 10463"/>
              <a:gd name="connsiteY2" fmla="*/ 8179 h 10000"/>
              <a:gd name="connsiteX3" fmla="*/ 9690 w 10463"/>
              <a:gd name="connsiteY3" fmla="*/ 6358 h 10000"/>
              <a:gd name="connsiteX4" fmla="*/ 10463 w 10463"/>
              <a:gd name="connsiteY4" fmla="*/ 4457 h 10000"/>
              <a:gd name="connsiteX5" fmla="*/ 8859 w 10463"/>
              <a:gd name="connsiteY5" fmla="*/ 5607 h 10000"/>
              <a:gd name="connsiteX6" fmla="*/ 8450 w 10463"/>
              <a:gd name="connsiteY6" fmla="*/ 4904 h 10000"/>
              <a:gd name="connsiteX7" fmla="*/ 8016 w 10463"/>
              <a:gd name="connsiteY7" fmla="*/ 4218 h 10000"/>
              <a:gd name="connsiteX8" fmla="*/ 7524 w 10463"/>
              <a:gd name="connsiteY8" fmla="*/ 3579 h 10000"/>
              <a:gd name="connsiteX9" fmla="*/ 6997 w 10463"/>
              <a:gd name="connsiteY9" fmla="*/ 2987 h 10000"/>
              <a:gd name="connsiteX10" fmla="*/ 6447 w 10463"/>
              <a:gd name="connsiteY10" fmla="*/ 2444 h 10000"/>
              <a:gd name="connsiteX11" fmla="*/ 5849 w 10463"/>
              <a:gd name="connsiteY11" fmla="*/ 1949 h 10000"/>
              <a:gd name="connsiteX12" fmla="*/ 5241 w 10463"/>
              <a:gd name="connsiteY12" fmla="*/ 1501 h 10000"/>
              <a:gd name="connsiteX13" fmla="*/ 4608 w 10463"/>
              <a:gd name="connsiteY13" fmla="*/ 1102 h 10000"/>
              <a:gd name="connsiteX14" fmla="*/ 3952 w 10463"/>
              <a:gd name="connsiteY14" fmla="*/ 782 h 10000"/>
              <a:gd name="connsiteX15" fmla="*/ 3273 w 10463"/>
              <a:gd name="connsiteY15" fmla="*/ 495 h 10000"/>
              <a:gd name="connsiteX16" fmla="*/ 2595 w 10463"/>
              <a:gd name="connsiteY16" fmla="*/ 271 h 10000"/>
              <a:gd name="connsiteX17" fmla="*/ 1892 w 10463"/>
              <a:gd name="connsiteY17" fmla="*/ 112 h 10000"/>
              <a:gd name="connsiteX18" fmla="*/ 1177 w 10463"/>
              <a:gd name="connsiteY18" fmla="*/ 16 h 10000"/>
              <a:gd name="connsiteX19" fmla="*/ 148 w 10463"/>
              <a:gd name="connsiteY19" fmla="*/ 0 h 10000"/>
              <a:gd name="connsiteX20" fmla="*/ 977 w 10463"/>
              <a:gd name="connsiteY20" fmla="*/ 3223 h 10000"/>
              <a:gd name="connsiteX21" fmla="*/ 0 w 10463"/>
              <a:gd name="connsiteY21" fmla="*/ 6520 h 10000"/>
              <a:gd name="connsiteX22" fmla="*/ 3841 w 10463"/>
              <a:gd name="connsiteY22" fmla="*/ 9176 h 10000"/>
              <a:gd name="connsiteX23" fmla="*/ 2688 w 10463"/>
              <a:gd name="connsiteY23" fmla="*/ 9984 h 10000"/>
              <a:gd name="connsiteX0" fmla="*/ 2688 w 10463"/>
              <a:gd name="connsiteY0" fmla="*/ 9984 h 10000"/>
              <a:gd name="connsiteX1" fmla="*/ 8039 w 10463"/>
              <a:gd name="connsiteY1" fmla="*/ 10000 h 10000"/>
              <a:gd name="connsiteX2" fmla="*/ 8894 w 10463"/>
              <a:gd name="connsiteY2" fmla="*/ 8179 h 10000"/>
              <a:gd name="connsiteX3" fmla="*/ 9690 w 10463"/>
              <a:gd name="connsiteY3" fmla="*/ 6358 h 10000"/>
              <a:gd name="connsiteX4" fmla="*/ 10463 w 10463"/>
              <a:gd name="connsiteY4" fmla="*/ 4457 h 10000"/>
              <a:gd name="connsiteX5" fmla="*/ 8859 w 10463"/>
              <a:gd name="connsiteY5" fmla="*/ 5607 h 10000"/>
              <a:gd name="connsiteX6" fmla="*/ 8450 w 10463"/>
              <a:gd name="connsiteY6" fmla="*/ 4904 h 10000"/>
              <a:gd name="connsiteX7" fmla="*/ 8016 w 10463"/>
              <a:gd name="connsiteY7" fmla="*/ 4218 h 10000"/>
              <a:gd name="connsiteX8" fmla="*/ 7524 w 10463"/>
              <a:gd name="connsiteY8" fmla="*/ 3579 h 10000"/>
              <a:gd name="connsiteX9" fmla="*/ 6997 w 10463"/>
              <a:gd name="connsiteY9" fmla="*/ 2987 h 10000"/>
              <a:gd name="connsiteX10" fmla="*/ 6447 w 10463"/>
              <a:gd name="connsiteY10" fmla="*/ 2444 h 10000"/>
              <a:gd name="connsiteX11" fmla="*/ 5849 w 10463"/>
              <a:gd name="connsiteY11" fmla="*/ 1949 h 10000"/>
              <a:gd name="connsiteX12" fmla="*/ 5241 w 10463"/>
              <a:gd name="connsiteY12" fmla="*/ 1501 h 10000"/>
              <a:gd name="connsiteX13" fmla="*/ 4608 w 10463"/>
              <a:gd name="connsiteY13" fmla="*/ 1102 h 10000"/>
              <a:gd name="connsiteX14" fmla="*/ 3952 w 10463"/>
              <a:gd name="connsiteY14" fmla="*/ 782 h 10000"/>
              <a:gd name="connsiteX15" fmla="*/ 3273 w 10463"/>
              <a:gd name="connsiteY15" fmla="*/ 495 h 10000"/>
              <a:gd name="connsiteX16" fmla="*/ 2595 w 10463"/>
              <a:gd name="connsiteY16" fmla="*/ 271 h 10000"/>
              <a:gd name="connsiteX17" fmla="*/ 1892 w 10463"/>
              <a:gd name="connsiteY17" fmla="*/ 112 h 10000"/>
              <a:gd name="connsiteX18" fmla="*/ 1177 w 10463"/>
              <a:gd name="connsiteY18" fmla="*/ 16 h 10000"/>
              <a:gd name="connsiteX19" fmla="*/ 148 w 10463"/>
              <a:gd name="connsiteY19" fmla="*/ 0 h 10000"/>
              <a:gd name="connsiteX20" fmla="*/ 977 w 10463"/>
              <a:gd name="connsiteY20" fmla="*/ 3223 h 10000"/>
              <a:gd name="connsiteX21" fmla="*/ 0 w 10463"/>
              <a:gd name="connsiteY21" fmla="*/ 6466 h 10000"/>
              <a:gd name="connsiteX22" fmla="*/ 3841 w 10463"/>
              <a:gd name="connsiteY22" fmla="*/ 9176 h 10000"/>
              <a:gd name="connsiteX23" fmla="*/ 2688 w 10463"/>
              <a:gd name="connsiteY23" fmla="*/ 9984 h 10000"/>
              <a:gd name="connsiteX0" fmla="*/ 2731 w 10506"/>
              <a:gd name="connsiteY0" fmla="*/ 9984 h 10000"/>
              <a:gd name="connsiteX1" fmla="*/ 8082 w 10506"/>
              <a:gd name="connsiteY1" fmla="*/ 10000 h 10000"/>
              <a:gd name="connsiteX2" fmla="*/ 8937 w 10506"/>
              <a:gd name="connsiteY2" fmla="*/ 8179 h 10000"/>
              <a:gd name="connsiteX3" fmla="*/ 9733 w 10506"/>
              <a:gd name="connsiteY3" fmla="*/ 6358 h 10000"/>
              <a:gd name="connsiteX4" fmla="*/ 10506 w 10506"/>
              <a:gd name="connsiteY4" fmla="*/ 4457 h 10000"/>
              <a:gd name="connsiteX5" fmla="*/ 8902 w 10506"/>
              <a:gd name="connsiteY5" fmla="*/ 5607 h 10000"/>
              <a:gd name="connsiteX6" fmla="*/ 8493 w 10506"/>
              <a:gd name="connsiteY6" fmla="*/ 4904 h 10000"/>
              <a:gd name="connsiteX7" fmla="*/ 8059 w 10506"/>
              <a:gd name="connsiteY7" fmla="*/ 4218 h 10000"/>
              <a:gd name="connsiteX8" fmla="*/ 7567 w 10506"/>
              <a:gd name="connsiteY8" fmla="*/ 3579 h 10000"/>
              <a:gd name="connsiteX9" fmla="*/ 7040 w 10506"/>
              <a:gd name="connsiteY9" fmla="*/ 2987 h 10000"/>
              <a:gd name="connsiteX10" fmla="*/ 6490 w 10506"/>
              <a:gd name="connsiteY10" fmla="*/ 2444 h 10000"/>
              <a:gd name="connsiteX11" fmla="*/ 5892 w 10506"/>
              <a:gd name="connsiteY11" fmla="*/ 1949 h 10000"/>
              <a:gd name="connsiteX12" fmla="*/ 5284 w 10506"/>
              <a:gd name="connsiteY12" fmla="*/ 1501 h 10000"/>
              <a:gd name="connsiteX13" fmla="*/ 4651 w 10506"/>
              <a:gd name="connsiteY13" fmla="*/ 1102 h 10000"/>
              <a:gd name="connsiteX14" fmla="*/ 3995 w 10506"/>
              <a:gd name="connsiteY14" fmla="*/ 782 h 10000"/>
              <a:gd name="connsiteX15" fmla="*/ 3316 w 10506"/>
              <a:gd name="connsiteY15" fmla="*/ 495 h 10000"/>
              <a:gd name="connsiteX16" fmla="*/ 2638 w 10506"/>
              <a:gd name="connsiteY16" fmla="*/ 271 h 10000"/>
              <a:gd name="connsiteX17" fmla="*/ 1935 w 10506"/>
              <a:gd name="connsiteY17" fmla="*/ 112 h 10000"/>
              <a:gd name="connsiteX18" fmla="*/ 1220 w 10506"/>
              <a:gd name="connsiteY18" fmla="*/ 16 h 10000"/>
              <a:gd name="connsiteX19" fmla="*/ 0 w 10506"/>
              <a:gd name="connsiteY19" fmla="*/ 0 h 10000"/>
              <a:gd name="connsiteX20" fmla="*/ 1020 w 10506"/>
              <a:gd name="connsiteY20" fmla="*/ 3223 h 10000"/>
              <a:gd name="connsiteX21" fmla="*/ 43 w 10506"/>
              <a:gd name="connsiteY21" fmla="*/ 6466 h 10000"/>
              <a:gd name="connsiteX22" fmla="*/ 3884 w 10506"/>
              <a:gd name="connsiteY22" fmla="*/ 9176 h 10000"/>
              <a:gd name="connsiteX23" fmla="*/ 2731 w 10506"/>
              <a:gd name="connsiteY23" fmla="*/ 9984 h 10000"/>
              <a:gd name="connsiteX0" fmla="*/ 2742 w 10517"/>
              <a:gd name="connsiteY0" fmla="*/ 9984 h 10000"/>
              <a:gd name="connsiteX1" fmla="*/ 8093 w 10517"/>
              <a:gd name="connsiteY1" fmla="*/ 10000 h 10000"/>
              <a:gd name="connsiteX2" fmla="*/ 8948 w 10517"/>
              <a:gd name="connsiteY2" fmla="*/ 8179 h 10000"/>
              <a:gd name="connsiteX3" fmla="*/ 9744 w 10517"/>
              <a:gd name="connsiteY3" fmla="*/ 6358 h 10000"/>
              <a:gd name="connsiteX4" fmla="*/ 10517 w 10517"/>
              <a:gd name="connsiteY4" fmla="*/ 4457 h 10000"/>
              <a:gd name="connsiteX5" fmla="*/ 8913 w 10517"/>
              <a:gd name="connsiteY5" fmla="*/ 5607 h 10000"/>
              <a:gd name="connsiteX6" fmla="*/ 8504 w 10517"/>
              <a:gd name="connsiteY6" fmla="*/ 4904 h 10000"/>
              <a:gd name="connsiteX7" fmla="*/ 8070 w 10517"/>
              <a:gd name="connsiteY7" fmla="*/ 4218 h 10000"/>
              <a:gd name="connsiteX8" fmla="*/ 7578 w 10517"/>
              <a:gd name="connsiteY8" fmla="*/ 3579 h 10000"/>
              <a:gd name="connsiteX9" fmla="*/ 7051 w 10517"/>
              <a:gd name="connsiteY9" fmla="*/ 2987 h 10000"/>
              <a:gd name="connsiteX10" fmla="*/ 6501 w 10517"/>
              <a:gd name="connsiteY10" fmla="*/ 2444 h 10000"/>
              <a:gd name="connsiteX11" fmla="*/ 5903 w 10517"/>
              <a:gd name="connsiteY11" fmla="*/ 1949 h 10000"/>
              <a:gd name="connsiteX12" fmla="*/ 5295 w 10517"/>
              <a:gd name="connsiteY12" fmla="*/ 1501 h 10000"/>
              <a:gd name="connsiteX13" fmla="*/ 4662 w 10517"/>
              <a:gd name="connsiteY13" fmla="*/ 1102 h 10000"/>
              <a:gd name="connsiteX14" fmla="*/ 4006 w 10517"/>
              <a:gd name="connsiteY14" fmla="*/ 782 h 10000"/>
              <a:gd name="connsiteX15" fmla="*/ 3327 w 10517"/>
              <a:gd name="connsiteY15" fmla="*/ 495 h 10000"/>
              <a:gd name="connsiteX16" fmla="*/ 2649 w 10517"/>
              <a:gd name="connsiteY16" fmla="*/ 271 h 10000"/>
              <a:gd name="connsiteX17" fmla="*/ 1946 w 10517"/>
              <a:gd name="connsiteY17" fmla="*/ 112 h 10000"/>
              <a:gd name="connsiteX18" fmla="*/ 1231 w 10517"/>
              <a:gd name="connsiteY18" fmla="*/ 16 h 10000"/>
              <a:gd name="connsiteX19" fmla="*/ 0 w 10517"/>
              <a:gd name="connsiteY19" fmla="*/ 0 h 10000"/>
              <a:gd name="connsiteX20" fmla="*/ 1031 w 10517"/>
              <a:gd name="connsiteY20" fmla="*/ 3223 h 10000"/>
              <a:gd name="connsiteX21" fmla="*/ 54 w 10517"/>
              <a:gd name="connsiteY21" fmla="*/ 6466 h 10000"/>
              <a:gd name="connsiteX22" fmla="*/ 3895 w 10517"/>
              <a:gd name="connsiteY22" fmla="*/ 9176 h 10000"/>
              <a:gd name="connsiteX23" fmla="*/ 2742 w 10517"/>
              <a:gd name="connsiteY23" fmla="*/ 9984 h 10000"/>
              <a:gd name="connsiteX0" fmla="*/ 2742 w 10517"/>
              <a:gd name="connsiteY0" fmla="*/ 9984 h 10000"/>
              <a:gd name="connsiteX1" fmla="*/ 8093 w 10517"/>
              <a:gd name="connsiteY1" fmla="*/ 10000 h 10000"/>
              <a:gd name="connsiteX2" fmla="*/ 8948 w 10517"/>
              <a:gd name="connsiteY2" fmla="*/ 8179 h 10000"/>
              <a:gd name="connsiteX3" fmla="*/ 9744 w 10517"/>
              <a:gd name="connsiteY3" fmla="*/ 6358 h 10000"/>
              <a:gd name="connsiteX4" fmla="*/ 10517 w 10517"/>
              <a:gd name="connsiteY4" fmla="*/ 4457 h 10000"/>
              <a:gd name="connsiteX5" fmla="*/ 8913 w 10517"/>
              <a:gd name="connsiteY5" fmla="*/ 5607 h 10000"/>
              <a:gd name="connsiteX6" fmla="*/ 8504 w 10517"/>
              <a:gd name="connsiteY6" fmla="*/ 4904 h 10000"/>
              <a:gd name="connsiteX7" fmla="*/ 8070 w 10517"/>
              <a:gd name="connsiteY7" fmla="*/ 4218 h 10000"/>
              <a:gd name="connsiteX8" fmla="*/ 7578 w 10517"/>
              <a:gd name="connsiteY8" fmla="*/ 3579 h 10000"/>
              <a:gd name="connsiteX9" fmla="*/ 7051 w 10517"/>
              <a:gd name="connsiteY9" fmla="*/ 2987 h 10000"/>
              <a:gd name="connsiteX10" fmla="*/ 6501 w 10517"/>
              <a:gd name="connsiteY10" fmla="*/ 2444 h 10000"/>
              <a:gd name="connsiteX11" fmla="*/ 5903 w 10517"/>
              <a:gd name="connsiteY11" fmla="*/ 1949 h 10000"/>
              <a:gd name="connsiteX12" fmla="*/ 5295 w 10517"/>
              <a:gd name="connsiteY12" fmla="*/ 1501 h 10000"/>
              <a:gd name="connsiteX13" fmla="*/ 4662 w 10517"/>
              <a:gd name="connsiteY13" fmla="*/ 1102 h 10000"/>
              <a:gd name="connsiteX14" fmla="*/ 4006 w 10517"/>
              <a:gd name="connsiteY14" fmla="*/ 782 h 10000"/>
              <a:gd name="connsiteX15" fmla="*/ 3327 w 10517"/>
              <a:gd name="connsiteY15" fmla="*/ 495 h 10000"/>
              <a:gd name="connsiteX16" fmla="*/ 2649 w 10517"/>
              <a:gd name="connsiteY16" fmla="*/ 271 h 10000"/>
              <a:gd name="connsiteX17" fmla="*/ 1946 w 10517"/>
              <a:gd name="connsiteY17" fmla="*/ 112 h 10000"/>
              <a:gd name="connsiteX18" fmla="*/ 1231 w 10517"/>
              <a:gd name="connsiteY18" fmla="*/ 16 h 10000"/>
              <a:gd name="connsiteX19" fmla="*/ 0 w 10517"/>
              <a:gd name="connsiteY19" fmla="*/ 0 h 10000"/>
              <a:gd name="connsiteX20" fmla="*/ 54 w 10517"/>
              <a:gd name="connsiteY20" fmla="*/ 6466 h 10000"/>
              <a:gd name="connsiteX21" fmla="*/ 3895 w 10517"/>
              <a:gd name="connsiteY21" fmla="*/ 9176 h 10000"/>
              <a:gd name="connsiteX22" fmla="*/ 2742 w 10517"/>
              <a:gd name="connsiteY22" fmla="*/ 998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517" h="10000">
                <a:moveTo>
                  <a:pt x="2742" y="9984"/>
                </a:moveTo>
                <a:lnTo>
                  <a:pt x="8093" y="10000"/>
                </a:lnTo>
                <a:lnTo>
                  <a:pt x="8948" y="8179"/>
                </a:lnTo>
                <a:lnTo>
                  <a:pt x="9744" y="6358"/>
                </a:lnTo>
                <a:lnTo>
                  <a:pt x="10517" y="4457"/>
                </a:lnTo>
                <a:lnTo>
                  <a:pt x="8913" y="5607"/>
                </a:lnTo>
                <a:lnTo>
                  <a:pt x="8504" y="4904"/>
                </a:lnTo>
                <a:lnTo>
                  <a:pt x="8070" y="4218"/>
                </a:lnTo>
                <a:lnTo>
                  <a:pt x="7578" y="3579"/>
                </a:lnTo>
                <a:lnTo>
                  <a:pt x="7051" y="2987"/>
                </a:lnTo>
                <a:lnTo>
                  <a:pt x="6501" y="2444"/>
                </a:lnTo>
                <a:lnTo>
                  <a:pt x="5903" y="1949"/>
                </a:lnTo>
                <a:lnTo>
                  <a:pt x="5295" y="1501"/>
                </a:lnTo>
                <a:lnTo>
                  <a:pt x="4662" y="1102"/>
                </a:lnTo>
                <a:lnTo>
                  <a:pt x="4006" y="782"/>
                </a:lnTo>
                <a:lnTo>
                  <a:pt x="3327" y="495"/>
                </a:lnTo>
                <a:lnTo>
                  <a:pt x="2649" y="271"/>
                </a:lnTo>
                <a:lnTo>
                  <a:pt x="1946" y="112"/>
                </a:lnTo>
                <a:lnTo>
                  <a:pt x="1231" y="16"/>
                </a:lnTo>
                <a:lnTo>
                  <a:pt x="0" y="0"/>
                </a:lnTo>
                <a:cubicBezTo>
                  <a:pt x="18" y="2155"/>
                  <a:pt x="36" y="4311"/>
                  <a:pt x="54" y="6466"/>
                </a:cubicBezTo>
                <a:cubicBezTo>
                  <a:pt x="2834" y="6768"/>
                  <a:pt x="3492" y="8426"/>
                  <a:pt x="3895" y="9176"/>
                </a:cubicBezTo>
                <a:lnTo>
                  <a:pt x="2742" y="9984"/>
                </a:lnTo>
              </a:path>
            </a:pathLst>
          </a:custGeom>
          <a:solidFill>
            <a:schemeClr val="accent3">
              <a:lumMod val="75000"/>
            </a:schemeClr>
          </a:solidFill>
          <a:ln w="9525">
            <a:noFill/>
            <a:round/>
            <a:headEnd/>
            <a:tailEnd/>
          </a:ln>
        </p:spPr>
        <p:txBody>
          <a:bodyPr lIns="0" tIns="0" rIns="0" bIns="0"/>
          <a:lstStyle/>
          <a:p>
            <a:endParaRPr lang="da-DK" sz="1050">
              <a:latin typeface="Calibri" panose="020F0502020204030204" pitchFamily="34" charset="0"/>
            </a:endParaRPr>
          </a:p>
        </p:txBody>
      </p:sp>
      <p:sp>
        <p:nvSpPr>
          <p:cNvPr id="33" name="Freeform 30"/>
          <p:cNvSpPr>
            <a:spLocks/>
          </p:cNvSpPr>
          <p:nvPr/>
        </p:nvSpPr>
        <p:spPr bwMode="auto">
          <a:xfrm>
            <a:off x="8143079" y="2496942"/>
            <a:ext cx="677636" cy="407574"/>
          </a:xfrm>
          <a:custGeom>
            <a:avLst/>
            <a:gdLst>
              <a:gd name="T0" fmla="*/ 5302480 w 855"/>
              <a:gd name="T1" fmla="*/ 2147483647 h 627"/>
              <a:gd name="T2" fmla="*/ 18068655 w 855"/>
              <a:gd name="T3" fmla="*/ 2147483647 h 627"/>
              <a:gd name="T4" fmla="*/ 20120468 w 855"/>
              <a:gd name="T5" fmla="*/ 2147483647 h 627"/>
              <a:gd name="T6" fmla="*/ 21997386 w 855"/>
              <a:gd name="T7" fmla="*/ 2147483647 h 627"/>
              <a:gd name="T8" fmla="*/ 23856788 w 855"/>
              <a:gd name="T9" fmla="*/ 2147483647 h 627"/>
              <a:gd name="T10" fmla="*/ 19986604 w 855"/>
              <a:gd name="T11" fmla="*/ 2147483647 h 627"/>
              <a:gd name="T12" fmla="*/ 19052815 w 855"/>
              <a:gd name="T13" fmla="*/ 2147483647 h 627"/>
              <a:gd name="T14" fmla="*/ 18011923 w 855"/>
              <a:gd name="T15" fmla="*/ 2147483647 h 627"/>
              <a:gd name="T16" fmla="*/ 16821314 w 855"/>
              <a:gd name="T17" fmla="*/ 2147483647 h 627"/>
              <a:gd name="T18" fmla="*/ 15572719 w 855"/>
              <a:gd name="T19" fmla="*/ 2147483647 h 627"/>
              <a:gd name="T20" fmla="*/ 14276284 w 855"/>
              <a:gd name="T21" fmla="*/ 2147483647 h 627"/>
              <a:gd name="T22" fmla="*/ 12844820 w 855"/>
              <a:gd name="T23" fmla="*/ 2147483647 h 627"/>
              <a:gd name="T24" fmla="*/ 11393088 w 855"/>
              <a:gd name="T25" fmla="*/ 2147483647 h 627"/>
              <a:gd name="T26" fmla="*/ 9888534 w 855"/>
              <a:gd name="T27" fmla="*/ 2147483647 h 627"/>
              <a:gd name="T28" fmla="*/ 8297297 w 855"/>
              <a:gd name="T29" fmla="*/ 2147483647 h 627"/>
              <a:gd name="T30" fmla="*/ 6695248 w 855"/>
              <a:gd name="T31" fmla="*/ 2147483647 h 627"/>
              <a:gd name="T32" fmla="*/ 5104431 w 855"/>
              <a:gd name="T33" fmla="*/ 2147483647 h 627"/>
              <a:gd name="T34" fmla="*/ 3431821 w 855"/>
              <a:gd name="T35" fmla="*/ 1594791371 h 627"/>
              <a:gd name="T36" fmla="*/ 1677210 w 855"/>
              <a:gd name="T37" fmla="*/ 1 h 627"/>
              <a:gd name="T38" fmla="*/ 0 w 855"/>
              <a:gd name="T39" fmla="*/ 0 h 627"/>
              <a:gd name="T40" fmla="*/ 4555625 w 855"/>
              <a:gd name="T41" fmla="*/ 2147483647 h 627"/>
              <a:gd name="T42" fmla="*/ 1700142 w 855"/>
              <a:gd name="T43" fmla="*/ 2147483647 h 627"/>
              <a:gd name="T44" fmla="*/ 2890350 w 855"/>
              <a:gd name="T45" fmla="*/ 2147483647 h 627"/>
              <a:gd name="T46" fmla="*/ 3980498 w 855"/>
              <a:gd name="T47" fmla="*/ 2147483647 h 627"/>
              <a:gd name="T48" fmla="*/ 5104431 w 855"/>
              <a:gd name="T49" fmla="*/ 2147483647 h 627"/>
              <a:gd name="T50" fmla="*/ 6077373 w 855"/>
              <a:gd name="T51" fmla="*/ 2147483647 h 627"/>
              <a:gd name="T52" fmla="*/ 7053067 w 855"/>
              <a:gd name="T53" fmla="*/ 2147483647 h 627"/>
              <a:gd name="T54" fmla="*/ 7933782 w 855"/>
              <a:gd name="T55" fmla="*/ 2147483647 h 627"/>
              <a:gd name="T56" fmla="*/ 8802287 w 855"/>
              <a:gd name="T57" fmla="*/ 2147483647 h 627"/>
              <a:gd name="T58" fmla="*/ 9578845 w 855"/>
              <a:gd name="T59" fmla="*/ 2147483647 h 627"/>
              <a:gd name="T60" fmla="*/ 5302480 w 855"/>
              <a:gd name="T61" fmla="*/ 2147483647 h 62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55"/>
              <a:gd name="T94" fmla="*/ 0 h 627"/>
              <a:gd name="T95" fmla="*/ 855 w 855"/>
              <a:gd name="T96" fmla="*/ 627 h 627"/>
              <a:gd name="connsiteX0" fmla="*/ 2222 w 9988"/>
              <a:gd name="connsiteY0" fmla="*/ 9968 h 9984"/>
              <a:gd name="connsiteX1" fmla="*/ 7567 w 9988"/>
              <a:gd name="connsiteY1" fmla="*/ 9984 h 9984"/>
              <a:gd name="connsiteX2" fmla="*/ 8421 w 9988"/>
              <a:gd name="connsiteY2" fmla="*/ 8166 h 9984"/>
              <a:gd name="connsiteX3" fmla="*/ 9216 w 9988"/>
              <a:gd name="connsiteY3" fmla="*/ 6348 h 9984"/>
              <a:gd name="connsiteX4" fmla="*/ 9988 w 9988"/>
              <a:gd name="connsiteY4" fmla="*/ 4450 h 9984"/>
              <a:gd name="connsiteX5" fmla="*/ 8386 w 9988"/>
              <a:gd name="connsiteY5" fmla="*/ 5598 h 9984"/>
              <a:gd name="connsiteX6" fmla="*/ 7977 w 9988"/>
              <a:gd name="connsiteY6" fmla="*/ 4896 h 9984"/>
              <a:gd name="connsiteX7" fmla="*/ 7544 w 9988"/>
              <a:gd name="connsiteY7" fmla="*/ 4211 h 9984"/>
              <a:gd name="connsiteX8" fmla="*/ 7053 w 9988"/>
              <a:gd name="connsiteY8" fmla="*/ 3573 h 9984"/>
              <a:gd name="connsiteX9" fmla="*/ 6526 w 9988"/>
              <a:gd name="connsiteY9" fmla="*/ 2982 h 9984"/>
              <a:gd name="connsiteX10" fmla="*/ 5977 w 9988"/>
              <a:gd name="connsiteY10" fmla="*/ 2440 h 9984"/>
              <a:gd name="connsiteX11" fmla="*/ 5380 w 9988"/>
              <a:gd name="connsiteY11" fmla="*/ 1946 h 9984"/>
              <a:gd name="connsiteX12" fmla="*/ 4772 w 9988"/>
              <a:gd name="connsiteY12" fmla="*/ 1499 h 9984"/>
              <a:gd name="connsiteX13" fmla="*/ 4140 w 9988"/>
              <a:gd name="connsiteY13" fmla="*/ 1100 h 9984"/>
              <a:gd name="connsiteX14" fmla="*/ 3485 w 9988"/>
              <a:gd name="connsiteY14" fmla="*/ 781 h 9984"/>
              <a:gd name="connsiteX15" fmla="*/ 2807 w 9988"/>
              <a:gd name="connsiteY15" fmla="*/ 494 h 9984"/>
              <a:gd name="connsiteX16" fmla="*/ 2129 w 9988"/>
              <a:gd name="connsiteY16" fmla="*/ 271 h 9984"/>
              <a:gd name="connsiteX17" fmla="*/ 1427 w 9988"/>
              <a:gd name="connsiteY17" fmla="*/ 112 h 9984"/>
              <a:gd name="connsiteX18" fmla="*/ 713 w 9988"/>
              <a:gd name="connsiteY18" fmla="*/ 16 h 9984"/>
              <a:gd name="connsiteX19" fmla="*/ 0 w 9988"/>
              <a:gd name="connsiteY19" fmla="*/ 0 h 9984"/>
              <a:gd name="connsiteX20" fmla="*/ 1895 w 9988"/>
              <a:gd name="connsiteY20" fmla="*/ 2887 h 9984"/>
              <a:gd name="connsiteX21" fmla="*/ 95 w 9988"/>
              <a:gd name="connsiteY21" fmla="*/ 6541 h 9984"/>
              <a:gd name="connsiteX22" fmla="*/ 1205 w 9988"/>
              <a:gd name="connsiteY22" fmla="*/ 6364 h 9984"/>
              <a:gd name="connsiteX23" fmla="*/ 1673 w 9988"/>
              <a:gd name="connsiteY23" fmla="*/ 6555 h 9984"/>
              <a:gd name="connsiteX24" fmla="*/ 2129 w 9988"/>
              <a:gd name="connsiteY24" fmla="*/ 6794 h 9984"/>
              <a:gd name="connsiteX25" fmla="*/ 2550 w 9988"/>
              <a:gd name="connsiteY25" fmla="*/ 7081 h 9984"/>
              <a:gd name="connsiteX26" fmla="*/ 2959 w 9988"/>
              <a:gd name="connsiteY26" fmla="*/ 7432 h 9984"/>
              <a:gd name="connsiteX27" fmla="*/ 3333 w 9988"/>
              <a:gd name="connsiteY27" fmla="*/ 7815 h 9984"/>
              <a:gd name="connsiteX28" fmla="*/ 3684 w 9988"/>
              <a:gd name="connsiteY28" fmla="*/ 8230 h 9984"/>
              <a:gd name="connsiteX29" fmla="*/ 4012 w 9988"/>
              <a:gd name="connsiteY29" fmla="*/ 8692 h 9984"/>
              <a:gd name="connsiteX30" fmla="*/ 2222 w 9988"/>
              <a:gd name="connsiteY30" fmla="*/ 9968 h 9984"/>
              <a:gd name="connsiteX0" fmla="*/ 2225 w 10000"/>
              <a:gd name="connsiteY0" fmla="*/ 9984 h 10000"/>
              <a:gd name="connsiteX1" fmla="*/ 7576 w 10000"/>
              <a:gd name="connsiteY1" fmla="*/ 10000 h 10000"/>
              <a:gd name="connsiteX2" fmla="*/ 8431 w 10000"/>
              <a:gd name="connsiteY2" fmla="*/ 8179 h 10000"/>
              <a:gd name="connsiteX3" fmla="*/ 9227 w 10000"/>
              <a:gd name="connsiteY3" fmla="*/ 6358 h 10000"/>
              <a:gd name="connsiteX4" fmla="*/ 10000 w 10000"/>
              <a:gd name="connsiteY4" fmla="*/ 4457 h 10000"/>
              <a:gd name="connsiteX5" fmla="*/ 8396 w 10000"/>
              <a:gd name="connsiteY5" fmla="*/ 5607 h 10000"/>
              <a:gd name="connsiteX6" fmla="*/ 7987 w 10000"/>
              <a:gd name="connsiteY6" fmla="*/ 4904 h 10000"/>
              <a:gd name="connsiteX7" fmla="*/ 7553 w 10000"/>
              <a:gd name="connsiteY7" fmla="*/ 4218 h 10000"/>
              <a:gd name="connsiteX8" fmla="*/ 7061 w 10000"/>
              <a:gd name="connsiteY8" fmla="*/ 3579 h 10000"/>
              <a:gd name="connsiteX9" fmla="*/ 6534 w 10000"/>
              <a:gd name="connsiteY9" fmla="*/ 2987 h 10000"/>
              <a:gd name="connsiteX10" fmla="*/ 5984 w 10000"/>
              <a:gd name="connsiteY10" fmla="*/ 2444 h 10000"/>
              <a:gd name="connsiteX11" fmla="*/ 5386 w 10000"/>
              <a:gd name="connsiteY11" fmla="*/ 1949 h 10000"/>
              <a:gd name="connsiteX12" fmla="*/ 4778 w 10000"/>
              <a:gd name="connsiteY12" fmla="*/ 1501 h 10000"/>
              <a:gd name="connsiteX13" fmla="*/ 4145 w 10000"/>
              <a:gd name="connsiteY13" fmla="*/ 1102 h 10000"/>
              <a:gd name="connsiteX14" fmla="*/ 3489 w 10000"/>
              <a:gd name="connsiteY14" fmla="*/ 782 h 10000"/>
              <a:gd name="connsiteX15" fmla="*/ 2810 w 10000"/>
              <a:gd name="connsiteY15" fmla="*/ 495 h 10000"/>
              <a:gd name="connsiteX16" fmla="*/ 2132 w 10000"/>
              <a:gd name="connsiteY16" fmla="*/ 271 h 10000"/>
              <a:gd name="connsiteX17" fmla="*/ 1429 w 10000"/>
              <a:gd name="connsiteY17" fmla="*/ 112 h 10000"/>
              <a:gd name="connsiteX18" fmla="*/ 714 w 10000"/>
              <a:gd name="connsiteY18" fmla="*/ 16 h 10000"/>
              <a:gd name="connsiteX19" fmla="*/ 0 w 10000"/>
              <a:gd name="connsiteY19" fmla="*/ 0 h 10000"/>
              <a:gd name="connsiteX20" fmla="*/ 987 w 10000"/>
              <a:gd name="connsiteY20" fmla="*/ 3182 h 10000"/>
              <a:gd name="connsiteX21" fmla="*/ 95 w 10000"/>
              <a:gd name="connsiteY21" fmla="*/ 6551 h 10000"/>
              <a:gd name="connsiteX22" fmla="*/ 1206 w 10000"/>
              <a:gd name="connsiteY22" fmla="*/ 6374 h 10000"/>
              <a:gd name="connsiteX23" fmla="*/ 1675 w 10000"/>
              <a:gd name="connsiteY23" fmla="*/ 6566 h 10000"/>
              <a:gd name="connsiteX24" fmla="*/ 2132 w 10000"/>
              <a:gd name="connsiteY24" fmla="*/ 6805 h 10000"/>
              <a:gd name="connsiteX25" fmla="*/ 2553 w 10000"/>
              <a:gd name="connsiteY25" fmla="*/ 7092 h 10000"/>
              <a:gd name="connsiteX26" fmla="*/ 2963 w 10000"/>
              <a:gd name="connsiteY26" fmla="*/ 7444 h 10000"/>
              <a:gd name="connsiteX27" fmla="*/ 3337 w 10000"/>
              <a:gd name="connsiteY27" fmla="*/ 7828 h 10000"/>
              <a:gd name="connsiteX28" fmla="*/ 3688 w 10000"/>
              <a:gd name="connsiteY28" fmla="*/ 8243 h 10000"/>
              <a:gd name="connsiteX29" fmla="*/ 4017 w 10000"/>
              <a:gd name="connsiteY29" fmla="*/ 8706 h 10000"/>
              <a:gd name="connsiteX30" fmla="*/ 2225 w 10000"/>
              <a:gd name="connsiteY30" fmla="*/ 9984 h 10000"/>
              <a:gd name="connsiteX0" fmla="*/ 2540 w 10315"/>
              <a:gd name="connsiteY0" fmla="*/ 9984 h 10000"/>
              <a:gd name="connsiteX1" fmla="*/ 7891 w 10315"/>
              <a:gd name="connsiteY1" fmla="*/ 10000 h 10000"/>
              <a:gd name="connsiteX2" fmla="*/ 8746 w 10315"/>
              <a:gd name="connsiteY2" fmla="*/ 8179 h 10000"/>
              <a:gd name="connsiteX3" fmla="*/ 9542 w 10315"/>
              <a:gd name="connsiteY3" fmla="*/ 6358 h 10000"/>
              <a:gd name="connsiteX4" fmla="*/ 10315 w 10315"/>
              <a:gd name="connsiteY4" fmla="*/ 4457 h 10000"/>
              <a:gd name="connsiteX5" fmla="*/ 8711 w 10315"/>
              <a:gd name="connsiteY5" fmla="*/ 5607 h 10000"/>
              <a:gd name="connsiteX6" fmla="*/ 8302 w 10315"/>
              <a:gd name="connsiteY6" fmla="*/ 4904 h 10000"/>
              <a:gd name="connsiteX7" fmla="*/ 7868 w 10315"/>
              <a:gd name="connsiteY7" fmla="*/ 4218 h 10000"/>
              <a:gd name="connsiteX8" fmla="*/ 7376 w 10315"/>
              <a:gd name="connsiteY8" fmla="*/ 3579 h 10000"/>
              <a:gd name="connsiteX9" fmla="*/ 6849 w 10315"/>
              <a:gd name="connsiteY9" fmla="*/ 2987 h 10000"/>
              <a:gd name="connsiteX10" fmla="*/ 6299 w 10315"/>
              <a:gd name="connsiteY10" fmla="*/ 2444 h 10000"/>
              <a:gd name="connsiteX11" fmla="*/ 5701 w 10315"/>
              <a:gd name="connsiteY11" fmla="*/ 1949 h 10000"/>
              <a:gd name="connsiteX12" fmla="*/ 5093 w 10315"/>
              <a:gd name="connsiteY12" fmla="*/ 1501 h 10000"/>
              <a:gd name="connsiteX13" fmla="*/ 4460 w 10315"/>
              <a:gd name="connsiteY13" fmla="*/ 1102 h 10000"/>
              <a:gd name="connsiteX14" fmla="*/ 3804 w 10315"/>
              <a:gd name="connsiteY14" fmla="*/ 782 h 10000"/>
              <a:gd name="connsiteX15" fmla="*/ 3125 w 10315"/>
              <a:gd name="connsiteY15" fmla="*/ 495 h 10000"/>
              <a:gd name="connsiteX16" fmla="*/ 2447 w 10315"/>
              <a:gd name="connsiteY16" fmla="*/ 271 h 10000"/>
              <a:gd name="connsiteX17" fmla="*/ 1744 w 10315"/>
              <a:gd name="connsiteY17" fmla="*/ 112 h 10000"/>
              <a:gd name="connsiteX18" fmla="*/ 1029 w 10315"/>
              <a:gd name="connsiteY18" fmla="*/ 16 h 10000"/>
              <a:gd name="connsiteX19" fmla="*/ 0 w 10315"/>
              <a:gd name="connsiteY19" fmla="*/ 0 h 10000"/>
              <a:gd name="connsiteX20" fmla="*/ 1302 w 10315"/>
              <a:gd name="connsiteY20" fmla="*/ 3182 h 10000"/>
              <a:gd name="connsiteX21" fmla="*/ 410 w 10315"/>
              <a:gd name="connsiteY21" fmla="*/ 6551 h 10000"/>
              <a:gd name="connsiteX22" fmla="*/ 1521 w 10315"/>
              <a:gd name="connsiteY22" fmla="*/ 6374 h 10000"/>
              <a:gd name="connsiteX23" fmla="*/ 1990 w 10315"/>
              <a:gd name="connsiteY23" fmla="*/ 6566 h 10000"/>
              <a:gd name="connsiteX24" fmla="*/ 2447 w 10315"/>
              <a:gd name="connsiteY24" fmla="*/ 6805 h 10000"/>
              <a:gd name="connsiteX25" fmla="*/ 2868 w 10315"/>
              <a:gd name="connsiteY25" fmla="*/ 7092 h 10000"/>
              <a:gd name="connsiteX26" fmla="*/ 3278 w 10315"/>
              <a:gd name="connsiteY26" fmla="*/ 7444 h 10000"/>
              <a:gd name="connsiteX27" fmla="*/ 3652 w 10315"/>
              <a:gd name="connsiteY27" fmla="*/ 7828 h 10000"/>
              <a:gd name="connsiteX28" fmla="*/ 4003 w 10315"/>
              <a:gd name="connsiteY28" fmla="*/ 8243 h 10000"/>
              <a:gd name="connsiteX29" fmla="*/ 4332 w 10315"/>
              <a:gd name="connsiteY29" fmla="*/ 8706 h 10000"/>
              <a:gd name="connsiteX30" fmla="*/ 2540 w 10315"/>
              <a:gd name="connsiteY30"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1601 w 10395"/>
              <a:gd name="connsiteY22" fmla="*/ 6374 h 10000"/>
              <a:gd name="connsiteX23" fmla="*/ 2070 w 10395"/>
              <a:gd name="connsiteY23" fmla="*/ 6566 h 10000"/>
              <a:gd name="connsiteX24" fmla="*/ 2527 w 10395"/>
              <a:gd name="connsiteY24" fmla="*/ 6805 h 10000"/>
              <a:gd name="connsiteX25" fmla="*/ 2948 w 10395"/>
              <a:gd name="connsiteY25" fmla="*/ 7092 h 10000"/>
              <a:gd name="connsiteX26" fmla="*/ 3358 w 10395"/>
              <a:gd name="connsiteY26" fmla="*/ 7444 h 10000"/>
              <a:gd name="connsiteX27" fmla="*/ 3732 w 10395"/>
              <a:gd name="connsiteY27" fmla="*/ 7828 h 10000"/>
              <a:gd name="connsiteX28" fmla="*/ 4083 w 10395"/>
              <a:gd name="connsiteY28" fmla="*/ 8243 h 10000"/>
              <a:gd name="connsiteX29" fmla="*/ 4412 w 10395"/>
              <a:gd name="connsiteY29" fmla="*/ 8706 h 10000"/>
              <a:gd name="connsiteX30" fmla="*/ 2620 w 10395"/>
              <a:gd name="connsiteY30"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1601 w 10395"/>
              <a:gd name="connsiteY22" fmla="*/ 6772 h 10000"/>
              <a:gd name="connsiteX23" fmla="*/ 2070 w 10395"/>
              <a:gd name="connsiteY23" fmla="*/ 6566 h 10000"/>
              <a:gd name="connsiteX24" fmla="*/ 2527 w 10395"/>
              <a:gd name="connsiteY24" fmla="*/ 6805 h 10000"/>
              <a:gd name="connsiteX25" fmla="*/ 2948 w 10395"/>
              <a:gd name="connsiteY25" fmla="*/ 7092 h 10000"/>
              <a:gd name="connsiteX26" fmla="*/ 3358 w 10395"/>
              <a:gd name="connsiteY26" fmla="*/ 7444 h 10000"/>
              <a:gd name="connsiteX27" fmla="*/ 3732 w 10395"/>
              <a:gd name="connsiteY27" fmla="*/ 7828 h 10000"/>
              <a:gd name="connsiteX28" fmla="*/ 4083 w 10395"/>
              <a:gd name="connsiteY28" fmla="*/ 8243 h 10000"/>
              <a:gd name="connsiteX29" fmla="*/ 4412 w 10395"/>
              <a:gd name="connsiteY29" fmla="*/ 8706 h 10000"/>
              <a:gd name="connsiteX30" fmla="*/ 2620 w 10395"/>
              <a:gd name="connsiteY30"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1601 w 10395"/>
              <a:gd name="connsiteY22" fmla="*/ 6772 h 10000"/>
              <a:gd name="connsiteX23" fmla="*/ 2070 w 10395"/>
              <a:gd name="connsiteY23" fmla="*/ 7145 h 10000"/>
              <a:gd name="connsiteX24" fmla="*/ 2527 w 10395"/>
              <a:gd name="connsiteY24" fmla="*/ 6805 h 10000"/>
              <a:gd name="connsiteX25" fmla="*/ 2948 w 10395"/>
              <a:gd name="connsiteY25" fmla="*/ 7092 h 10000"/>
              <a:gd name="connsiteX26" fmla="*/ 3358 w 10395"/>
              <a:gd name="connsiteY26" fmla="*/ 7444 h 10000"/>
              <a:gd name="connsiteX27" fmla="*/ 3732 w 10395"/>
              <a:gd name="connsiteY27" fmla="*/ 7828 h 10000"/>
              <a:gd name="connsiteX28" fmla="*/ 4083 w 10395"/>
              <a:gd name="connsiteY28" fmla="*/ 8243 h 10000"/>
              <a:gd name="connsiteX29" fmla="*/ 4412 w 10395"/>
              <a:gd name="connsiteY29" fmla="*/ 8706 h 10000"/>
              <a:gd name="connsiteX30" fmla="*/ 2620 w 10395"/>
              <a:gd name="connsiteY30"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1601 w 10395"/>
              <a:gd name="connsiteY22" fmla="*/ 6772 h 10000"/>
              <a:gd name="connsiteX23" fmla="*/ 2070 w 10395"/>
              <a:gd name="connsiteY23" fmla="*/ 7145 h 10000"/>
              <a:gd name="connsiteX24" fmla="*/ 2492 w 10395"/>
              <a:gd name="connsiteY24" fmla="*/ 7384 h 10000"/>
              <a:gd name="connsiteX25" fmla="*/ 2948 w 10395"/>
              <a:gd name="connsiteY25" fmla="*/ 7092 h 10000"/>
              <a:gd name="connsiteX26" fmla="*/ 3358 w 10395"/>
              <a:gd name="connsiteY26" fmla="*/ 7444 h 10000"/>
              <a:gd name="connsiteX27" fmla="*/ 3732 w 10395"/>
              <a:gd name="connsiteY27" fmla="*/ 7828 h 10000"/>
              <a:gd name="connsiteX28" fmla="*/ 4083 w 10395"/>
              <a:gd name="connsiteY28" fmla="*/ 8243 h 10000"/>
              <a:gd name="connsiteX29" fmla="*/ 4412 w 10395"/>
              <a:gd name="connsiteY29" fmla="*/ 8706 h 10000"/>
              <a:gd name="connsiteX30" fmla="*/ 2620 w 10395"/>
              <a:gd name="connsiteY30"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1601 w 10395"/>
              <a:gd name="connsiteY22" fmla="*/ 6772 h 10000"/>
              <a:gd name="connsiteX23" fmla="*/ 2070 w 10395"/>
              <a:gd name="connsiteY23" fmla="*/ 7145 h 10000"/>
              <a:gd name="connsiteX24" fmla="*/ 2492 w 10395"/>
              <a:gd name="connsiteY24" fmla="*/ 7384 h 10000"/>
              <a:gd name="connsiteX25" fmla="*/ 2843 w 10395"/>
              <a:gd name="connsiteY25" fmla="*/ 7743 h 10000"/>
              <a:gd name="connsiteX26" fmla="*/ 3358 w 10395"/>
              <a:gd name="connsiteY26" fmla="*/ 7444 h 10000"/>
              <a:gd name="connsiteX27" fmla="*/ 3732 w 10395"/>
              <a:gd name="connsiteY27" fmla="*/ 7828 h 10000"/>
              <a:gd name="connsiteX28" fmla="*/ 4083 w 10395"/>
              <a:gd name="connsiteY28" fmla="*/ 8243 h 10000"/>
              <a:gd name="connsiteX29" fmla="*/ 4412 w 10395"/>
              <a:gd name="connsiteY29" fmla="*/ 8706 h 10000"/>
              <a:gd name="connsiteX30" fmla="*/ 2620 w 10395"/>
              <a:gd name="connsiteY30"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1601 w 10395"/>
              <a:gd name="connsiteY22" fmla="*/ 6772 h 10000"/>
              <a:gd name="connsiteX23" fmla="*/ 2070 w 10395"/>
              <a:gd name="connsiteY23" fmla="*/ 7145 h 10000"/>
              <a:gd name="connsiteX24" fmla="*/ 2492 w 10395"/>
              <a:gd name="connsiteY24" fmla="*/ 7384 h 10000"/>
              <a:gd name="connsiteX25" fmla="*/ 2843 w 10395"/>
              <a:gd name="connsiteY25" fmla="*/ 7743 h 10000"/>
              <a:gd name="connsiteX26" fmla="*/ 3113 w 10395"/>
              <a:gd name="connsiteY26" fmla="*/ 8132 h 10000"/>
              <a:gd name="connsiteX27" fmla="*/ 3732 w 10395"/>
              <a:gd name="connsiteY27" fmla="*/ 7828 h 10000"/>
              <a:gd name="connsiteX28" fmla="*/ 4083 w 10395"/>
              <a:gd name="connsiteY28" fmla="*/ 8243 h 10000"/>
              <a:gd name="connsiteX29" fmla="*/ 4412 w 10395"/>
              <a:gd name="connsiteY29" fmla="*/ 8706 h 10000"/>
              <a:gd name="connsiteX30" fmla="*/ 2620 w 10395"/>
              <a:gd name="connsiteY30"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1601 w 10395"/>
              <a:gd name="connsiteY22" fmla="*/ 6772 h 10000"/>
              <a:gd name="connsiteX23" fmla="*/ 2070 w 10395"/>
              <a:gd name="connsiteY23" fmla="*/ 7145 h 10000"/>
              <a:gd name="connsiteX24" fmla="*/ 2492 w 10395"/>
              <a:gd name="connsiteY24" fmla="*/ 7384 h 10000"/>
              <a:gd name="connsiteX25" fmla="*/ 2843 w 10395"/>
              <a:gd name="connsiteY25" fmla="*/ 7743 h 10000"/>
              <a:gd name="connsiteX26" fmla="*/ 3113 w 10395"/>
              <a:gd name="connsiteY26" fmla="*/ 8132 h 10000"/>
              <a:gd name="connsiteX27" fmla="*/ 3487 w 10395"/>
              <a:gd name="connsiteY27" fmla="*/ 8552 h 10000"/>
              <a:gd name="connsiteX28" fmla="*/ 4083 w 10395"/>
              <a:gd name="connsiteY28" fmla="*/ 8243 h 10000"/>
              <a:gd name="connsiteX29" fmla="*/ 4412 w 10395"/>
              <a:gd name="connsiteY29" fmla="*/ 8706 h 10000"/>
              <a:gd name="connsiteX30" fmla="*/ 2620 w 10395"/>
              <a:gd name="connsiteY30"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1601 w 10395"/>
              <a:gd name="connsiteY22" fmla="*/ 6772 h 10000"/>
              <a:gd name="connsiteX23" fmla="*/ 2070 w 10395"/>
              <a:gd name="connsiteY23" fmla="*/ 7145 h 10000"/>
              <a:gd name="connsiteX24" fmla="*/ 2492 w 10395"/>
              <a:gd name="connsiteY24" fmla="*/ 7384 h 10000"/>
              <a:gd name="connsiteX25" fmla="*/ 2843 w 10395"/>
              <a:gd name="connsiteY25" fmla="*/ 7743 h 10000"/>
              <a:gd name="connsiteX26" fmla="*/ 3113 w 10395"/>
              <a:gd name="connsiteY26" fmla="*/ 8132 h 10000"/>
              <a:gd name="connsiteX27" fmla="*/ 3487 w 10395"/>
              <a:gd name="connsiteY27" fmla="*/ 8552 h 10000"/>
              <a:gd name="connsiteX28" fmla="*/ 3663 w 10395"/>
              <a:gd name="connsiteY28" fmla="*/ 8931 h 10000"/>
              <a:gd name="connsiteX29" fmla="*/ 4412 w 10395"/>
              <a:gd name="connsiteY29" fmla="*/ 8706 h 10000"/>
              <a:gd name="connsiteX30" fmla="*/ 2620 w 10395"/>
              <a:gd name="connsiteY30"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1601 w 10395"/>
              <a:gd name="connsiteY22" fmla="*/ 6772 h 10000"/>
              <a:gd name="connsiteX23" fmla="*/ 2070 w 10395"/>
              <a:gd name="connsiteY23" fmla="*/ 7145 h 10000"/>
              <a:gd name="connsiteX24" fmla="*/ 2492 w 10395"/>
              <a:gd name="connsiteY24" fmla="*/ 7384 h 10000"/>
              <a:gd name="connsiteX25" fmla="*/ 2843 w 10395"/>
              <a:gd name="connsiteY25" fmla="*/ 7743 h 10000"/>
              <a:gd name="connsiteX26" fmla="*/ 3113 w 10395"/>
              <a:gd name="connsiteY26" fmla="*/ 8132 h 10000"/>
              <a:gd name="connsiteX27" fmla="*/ 3487 w 10395"/>
              <a:gd name="connsiteY27" fmla="*/ 8552 h 10000"/>
              <a:gd name="connsiteX28" fmla="*/ 3663 w 10395"/>
              <a:gd name="connsiteY28" fmla="*/ 8931 h 10000"/>
              <a:gd name="connsiteX29" fmla="*/ 3852 w 10395"/>
              <a:gd name="connsiteY29" fmla="*/ 9176 h 10000"/>
              <a:gd name="connsiteX30" fmla="*/ 2620 w 10395"/>
              <a:gd name="connsiteY30"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2070 w 10395"/>
              <a:gd name="connsiteY22" fmla="*/ 7145 h 10000"/>
              <a:gd name="connsiteX23" fmla="*/ 2492 w 10395"/>
              <a:gd name="connsiteY23" fmla="*/ 7384 h 10000"/>
              <a:gd name="connsiteX24" fmla="*/ 2843 w 10395"/>
              <a:gd name="connsiteY24" fmla="*/ 7743 h 10000"/>
              <a:gd name="connsiteX25" fmla="*/ 3113 w 10395"/>
              <a:gd name="connsiteY25" fmla="*/ 8132 h 10000"/>
              <a:gd name="connsiteX26" fmla="*/ 3487 w 10395"/>
              <a:gd name="connsiteY26" fmla="*/ 8552 h 10000"/>
              <a:gd name="connsiteX27" fmla="*/ 3663 w 10395"/>
              <a:gd name="connsiteY27" fmla="*/ 8931 h 10000"/>
              <a:gd name="connsiteX28" fmla="*/ 3852 w 10395"/>
              <a:gd name="connsiteY28" fmla="*/ 9176 h 10000"/>
              <a:gd name="connsiteX29" fmla="*/ 2620 w 10395"/>
              <a:gd name="connsiteY29"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2492 w 10395"/>
              <a:gd name="connsiteY22" fmla="*/ 7384 h 10000"/>
              <a:gd name="connsiteX23" fmla="*/ 2843 w 10395"/>
              <a:gd name="connsiteY23" fmla="*/ 7743 h 10000"/>
              <a:gd name="connsiteX24" fmla="*/ 3113 w 10395"/>
              <a:gd name="connsiteY24" fmla="*/ 8132 h 10000"/>
              <a:gd name="connsiteX25" fmla="*/ 3487 w 10395"/>
              <a:gd name="connsiteY25" fmla="*/ 8552 h 10000"/>
              <a:gd name="connsiteX26" fmla="*/ 3663 w 10395"/>
              <a:gd name="connsiteY26" fmla="*/ 8931 h 10000"/>
              <a:gd name="connsiteX27" fmla="*/ 3852 w 10395"/>
              <a:gd name="connsiteY27" fmla="*/ 9176 h 10000"/>
              <a:gd name="connsiteX28" fmla="*/ 2620 w 10395"/>
              <a:gd name="connsiteY28"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2843 w 10395"/>
              <a:gd name="connsiteY22" fmla="*/ 7743 h 10000"/>
              <a:gd name="connsiteX23" fmla="*/ 3113 w 10395"/>
              <a:gd name="connsiteY23" fmla="*/ 8132 h 10000"/>
              <a:gd name="connsiteX24" fmla="*/ 3487 w 10395"/>
              <a:gd name="connsiteY24" fmla="*/ 8552 h 10000"/>
              <a:gd name="connsiteX25" fmla="*/ 3663 w 10395"/>
              <a:gd name="connsiteY25" fmla="*/ 8931 h 10000"/>
              <a:gd name="connsiteX26" fmla="*/ 3852 w 10395"/>
              <a:gd name="connsiteY26" fmla="*/ 9176 h 10000"/>
              <a:gd name="connsiteX27" fmla="*/ 2620 w 10395"/>
              <a:gd name="connsiteY27"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2843 w 10395"/>
              <a:gd name="connsiteY22" fmla="*/ 7743 h 10000"/>
              <a:gd name="connsiteX23" fmla="*/ 3113 w 10395"/>
              <a:gd name="connsiteY23" fmla="*/ 8132 h 10000"/>
              <a:gd name="connsiteX24" fmla="*/ 3487 w 10395"/>
              <a:gd name="connsiteY24" fmla="*/ 8552 h 10000"/>
              <a:gd name="connsiteX25" fmla="*/ 3852 w 10395"/>
              <a:gd name="connsiteY25" fmla="*/ 9176 h 10000"/>
              <a:gd name="connsiteX26" fmla="*/ 2620 w 10395"/>
              <a:gd name="connsiteY26"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2843 w 10395"/>
              <a:gd name="connsiteY22" fmla="*/ 7743 h 10000"/>
              <a:gd name="connsiteX23" fmla="*/ 3113 w 10395"/>
              <a:gd name="connsiteY23" fmla="*/ 8132 h 10000"/>
              <a:gd name="connsiteX24" fmla="*/ 3852 w 10395"/>
              <a:gd name="connsiteY24" fmla="*/ 9176 h 10000"/>
              <a:gd name="connsiteX25" fmla="*/ 2620 w 10395"/>
              <a:gd name="connsiteY25"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2843 w 10395"/>
              <a:gd name="connsiteY22" fmla="*/ 7743 h 10000"/>
              <a:gd name="connsiteX23" fmla="*/ 3852 w 10395"/>
              <a:gd name="connsiteY23" fmla="*/ 9176 h 10000"/>
              <a:gd name="connsiteX24" fmla="*/ 2620 w 10395"/>
              <a:gd name="connsiteY24"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852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852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852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852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852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852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852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852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773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773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773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773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773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773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773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773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909 w 10395"/>
              <a:gd name="connsiteY20" fmla="*/ 3223 h 10000"/>
              <a:gd name="connsiteX21" fmla="*/ 0 w 10395"/>
              <a:gd name="connsiteY21" fmla="*/ 6479 h 10000"/>
              <a:gd name="connsiteX22" fmla="*/ 3773 w 10395"/>
              <a:gd name="connsiteY22" fmla="*/ 9176 h 10000"/>
              <a:gd name="connsiteX23" fmla="*/ 2620 w 10395"/>
              <a:gd name="connsiteY23" fmla="*/ 9984 h 10000"/>
              <a:gd name="connsiteX0" fmla="*/ 2688 w 10463"/>
              <a:gd name="connsiteY0" fmla="*/ 9984 h 10000"/>
              <a:gd name="connsiteX1" fmla="*/ 8039 w 10463"/>
              <a:gd name="connsiteY1" fmla="*/ 10000 h 10000"/>
              <a:gd name="connsiteX2" fmla="*/ 8894 w 10463"/>
              <a:gd name="connsiteY2" fmla="*/ 8179 h 10000"/>
              <a:gd name="connsiteX3" fmla="*/ 9690 w 10463"/>
              <a:gd name="connsiteY3" fmla="*/ 6358 h 10000"/>
              <a:gd name="connsiteX4" fmla="*/ 10463 w 10463"/>
              <a:gd name="connsiteY4" fmla="*/ 4457 h 10000"/>
              <a:gd name="connsiteX5" fmla="*/ 8859 w 10463"/>
              <a:gd name="connsiteY5" fmla="*/ 5607 h 10000"/>
              <a:gd name="connsiteX6" fmla="*/ 8450 w 10463"/>
              <a:gd name="connsiteY6" fmla="*/ 4904 h 10000"/>
              <a:gd name="connsiteX7" fmla="*/ 8016 w 10463"/>
              <a:gd name="connsiteY7" fmla="*/ 4218 h 10000"/>
              <a:gd name="connsiteX8" fmla="*/ 7524 w 10463"/>
              <a:gd name="connsiteY8" fmla="*/ 3579 h 10000"/>
              <a:gd name="connsiteX9" fmla="*/ 6997 w 10463"/>
              <a:gd name="connsiteY9" fmla="*/ 2987 h 10000"/>
              <a:gd name="connsiteX10" fmla="*/ 6447 w 10463"/>
              <a:gd name="connsiteY10" fmla="*/ 2444 h 10000"/>
              <a:gd name="connsiteX11" fmla="*/ 5849 w 10463"/>
              <a:gd name="connsiteY11" fmla="*/ 1949 h 10000"/>
              <a:gd name="connsiteX12" fmla="*/ 5241 w 10463"/>
              <a:gd name="connsiteY12" fmla="*/ 1501 h 10000"/>
              <a:gd name="connsiteX13" fmla="*/ 4608 w 10463"/>
              <a:gd name="connsiteY13" fmla="*/ 1102 h 10000"/>
              <a:gd name="connsiteX14" fmla="*/ 3952 w 10463"/>
              <a:gd name="connsiteY14" fmla="*/ 782 h 10000"/>
              <a:gd name="connsiteX15" fmla="*/ 3273 w 10463"/>
              <a:gd name="connsiteY15" fmla="*/ 495 h 10000"/>
              <a:gd name="connsiteX16" fmla="*/ 2595 w 10463"/>
              <a:gd name="connsiteY16" fmla="*/ 271 h 10000"/>
              <a:gd name="connsiteX17" fmla="*/ 1892 w 10463"/>
              <a:gd name="connsiteY17" fmla="*/ 112 h 10000"/>
              <a:gd name="connsiteX18" fmla="*/ 1177 w 10463"/>
              <a:gd name="connsiteY18" fmla="*/ 16 h 10000"/>
              <a:gd name="connsiteX19" fmla="*/ 148 w 10463"/>
              <a:gd name="connsiteY19" fmla="*/ 0 h 10000"/>
              <a:gd name="connsiteX20" fmla="*/ 977 w 10463"/>
              <a:gd name="connsiteY20" fmla="*/ 3223 h 10000"/>
              <a:gd name="connsiteX21" fmla="*/ 0 w 10463"/>
              <a:gd name="connsiteY21" fmla="*/ 6520 h 10000"/>
              <a:gd name="connsiteX22" fmla="*/ 3841 w 10463"/>
              <a:gd name="connsiteY22" fmla="*/ 9176 h 10000"/>
              <a:gd name="connsiteX23" fmla="*/ 2688 w 10463"/>
              <a:gd name="connsiteY23" fmla="*/ 9984 h 10000"/>
              <a:gd name="connsiteX0" fmla="*/ 2688 w 10463"/>
              <a:gd name="connsiteY0" fmla="*/ 9984 h 10000"/>
              <a:gd name="connsiteX1" fmla="*/ 8039 w 10463"/>
              <a:gd name="connsiteY1" fmla="*/ 10000 h 10000"/>
              <a:gd name="connsiteX2" fmla="*/ 8894 w 10463"/>
              <a:gd name="connsiteY2" fmla="*/ 8179 h 10000"/>
              <a:gd name="connsiteX3" fmla="*/ 9690 w 10463"/>
              <a:gd name="connsiteY3" fmla="*/ 6358 h 10000"/>
              <a:gd name="connsiteX4" fmla="*/ 10463 w 10463"/>
              <a:gd name="connsiteY4" fmla="*/ 4457 h 10000"/>
              <a:gd name="connsiteX5" fmla="*/ 8859 w 10463"/>
              <a:gd name="connsiteY5" fmla="*/ 5607 h 10000"/>
              <a:gd name="connsiteX6" fmla="*/ 8450 w 10463"/>
              <a:gd name="connsiteY6" fmla="*/ 4904 h 10000"/>
              <a:gd name="connsiteX7" fmla="*/ 8016 w 10463"/>
              <a:gd name="connsiteY7" fmla="*/ 4218 h 10000"/>
              <a:gd name="connsiteX8" fmla="*/ 7524 w 10463"/>
              <a:gd name="connsiteY8" fmla="*/ 3579 h 10000"/>
              <a:gd name="connsiteX9" fmla="*/ 6997 w 10463"/>
              <a:gd name="connsiteY9" fmla="*/ 2987 h 10000"/>
              <a:gd name="connsiteX10" fmla="*/ 6447 w 10463"/>
              <a:gd name="connsiteY10" fmla="*/ 2444 h 10000"/>
              <a:gd name="connsiteX11" fmla="*/ 5849 w 10463"/>
              <a:gd name="connsiteY11" fmla="*/ 1949 h 10000"/>
              <a:gd name="connsiteX12" fmla="*/ 5241 w 10463"/>
              <a:gd name="connsiteY12" fmla="*/ 1501 h 10000"/>
              <a:gd name="connsiteX13" fmla="*/ 4608 w 10463"/>
              <a:gd name="connsiteY13" fmla="*/ 1102 h 10000"/>
              <a:gd name="connsiteX14" fmla="*/ 3952 w 10463"/>
              <a:gd name="connsiteY14" fmla="*/ 782 h 10000"/>
              <a:gd name="connsiteX15" fmla="*/ 3273 w 10463"/>
              <a:gd name="connsiteY15" fmla="*/ 495 h 10000"/>
              <a:gd name="connsiteX16" fmla="*/ 2595 w 10463"/>
              <a:gd name="connsiteY16" fmla="*/ 271 h 10000"/>
              <a:gd name="connsiteX17" fmla="*/ 1892 w 10463"/>
              <a:gd name="connsiteY17" fmla="*/ 112 h 10000"/>
              <a:gd name="connsiteX18" fmla="*/ 1177 w 10463"/>
              <a:gd name="connsiteY18" fmla="*/ 16 h 10000"/>
              <a:gd name="connsiteX19" fmla="*/ 148 w 10463"/>
              <a:gd name="connsiteY19" fmla="*/ 0 h 10000"/>
              <a:gd name="connsiteX20" fmla="*/ 977 w 10463"/>
              <a:gd name="connsiteY20" fmla="*/ 3223 h 10000"/>
              <a:gd name="connsiteX21" fmla="*/ 0 w 10463"/>
              <a:gd name="connsiteY21" fmla="*/ 6466 h 10000"/>
              <a:gd name="connsiteX22" fmla="*/ 3841 w 10463"/>
              <a:gd name="connsiteY22" fmla="*/ 9176 h 10000"/>
              <a:gd name="connsiteX23" fmla="*/ 2688 w 10463"/>
              <a:gd name="connsiteY23" fmla="*/ 9984 h 10000"/>
              <a:gd name="connsiteX0" fmla="*/ 2731 w 10506"/>
              <a:gd name="connsiteY0" fmla="*/ 9984 h 10000"/>
              <a:gd name="connsiteX1" fmla="*/ 8082 w 10506"/>
              <a:gd name="connsiteY1" fmla="*/ 10000 h 10000"/>
              <a:gd name="connsiteX2" fmla="*/ 8937 w 10506"/>
              <a:gd name="connsiteY2" fmla="*/ 8179 h 10000"/>
              <a:gd name="connsiteX3" fmla="*/ 9733 w 10506"/>
              <a:gd name="connsiteY3" fmla="*/ 6358 h 10000"/>
              <a:gd name="connsiteX4" fmla="*/ 10506 w 10506"/>
              <a:gd name="connsiteY4" fmla="*/ 4457 h 10000"/>
              <a:gd name="connsiteX5" fmla="*/ 8902 w 10506"/>
              <a:gd name="connsiteY5" fmla="*/ 5607 h 10000"/>
              <a:gd name="connsiteX6" fmla="*/ 8493 w 10506"/>
              <a:gd name="connsiteY6" fmla="*/ 4904 h 10000"/>
              <a:gd name="connsiteX7" fmla="*/ 8059 w 10506"/>
              <a:gd name="connsiteY7" fmla="*/ 4218 h 10000"/>
              <a:gd name="connsiteX8" fmla="*/ 7567 w 10506"/>
              <a:gd name="connsiteY8" fmla="*/ 3579 h 10000"/>
              <a:gd name="connsiteX9" fmla="*/ 7040 w 10506"/>
              <a:gd name="connsiteY9" fmla="*/ 2987 h 10000"/>
              <a:gd name="connsiteX10" fmla="*/ 6490 w 10506"/>
              <a:gd name="connsiteY10" fmla="*/ 2444 h 10000"/>
              <a:gd name="connsiteX11" fmla="*/ 5892 w 10506"/>
              <a:gd name="connsiteY11" fmla="*/ 1949 h 10000"/>
              <a:gd name="connsiteX12" fmla="*/ 5284 w 10506"/>
              <a:gd name="connsiteY12" fmla="*/ 1501 h 10000"/>
              <a:gd name="connsiteX13" fmla="*/ 4651 w 10506"/>
              <a:gd name="connsiteY13" fmla="*/ 1102 h 10000"/>
              <a:gd name="connsiteX14" fmla="*/ 3995 w 10506"/>
              <a:gd name="connsiteY14" fmla="*/ 782 h 10000"/>
              <a:gd name="connsiteX15" fmla="*/ 3316 w 10506"/>
              <a:gd name="connsiteY15" fmla="*/ 495 h 10000"/>
              <a:gd name="connsiteX16" fmla="*/ 2638 w 10506"/>
              <a:gd name="connsiteY16" fmla="*/ 271 h 10000"/>
              <a:gd name="connsiteX17" fmla="*/ 1935 w 10506"/>
              <a:gd name="connsiteY17" fmla="*/ 112 h 10000"/>
              <a:gd name="connsiteX18" fmla="*/ 1220 w 10506"/>
              <a:gd name="connsiteY18" fmla="*/ 16 h 10000"/>
              <a:gd name="connsiteX19" fmla="*/ 0 w 10506"/>
              <a:gd name="connsiteY19" fmla="*/ 0 h 10000"/>
              <a:gd name="connsiteX20" fmla="*/ 1020 w 10506"/>
              <a:gd name="connsiteY20" fmla="*/ 3223 h 10000"/>
              <a:gd name="connsiteX21" fmla="*/ 43 w 10506"/>
              <a:gd name="connsiteY21" fmla="*/ 6466 h 10000"/>
              <a:gd name="connsiteX22" fmla="*/ 3884 w 10506"/>
              <a:gd name="connsiteY22" fmla="*/ 9176 h 10000"/>
              <a:gd name="connsiteX23" fmla="*/ 2731 w 10506"/>
              <a:gd name="connsiteY23" fmla="*/ 9984 h 10000"/>
              <a:gd name="connsiteX0" fmla="*/ 2742 w 10517"/>
              <a:gd name="connsiteY0" fmla="*/ 9984 h 10000"/>
              <a:gd name="connsiteX1" fmla="*/ 8093 w 10517"/>
              <a:gd name="connsiteY1" fmla="*/ 10000 h 10000"/>
              <a:gd name="connsiteX2" fmla="*/ 8948 w 10517"/>
              <a:gd name="connsiteY2" fmla="*/ 8179 h 10000"/>
              <a:gd name="connsiteX3" fmla="*/ 9744 w 10517"/>
              <a:gd name="connsiteY3" fmla="*/ 6358 h 10000"/>
              <a:gd name="connsiteX4" fmla="*/ 10517 w 10517"/>
              <a:gd name="connsiteY4" fmla="*/ 4457 h 10000"/>
              <a:gd name="connsiteX5" fmla="*/ 8913 w 10517"/>
              <a:gd name="connsiteY5" fmla="*/ 5607 h 10000"/>
              <a:gd name="connsiteX6" fmla="*/ 8504 w 10517"/>
              <a:gd name="connsiteY6" fmla="*/ 4904 h 10000"/>
              <a:gd name="connsiteX7" fmla="*/ 8070 w 10517"/>
              <a:gd name="connsiteY7" fmla="*/ 4218 h 10000"/>
              <a:gd name="connsiteX8" fmla="*/ 7578 w 10517"/>
              <a:gd name="connsiteY8" fmla="*/ 3579 h 10000"/>
              <a:gd name="connsiteX9" fmla="*/ 7051 w 10517"/>
              <a:gd name="connsiteY9" fmla="*/ 2987 h 10000"/>
              <a:gd name="connsiteX10" fmla="*/ 6501 w 10517"/>
              <a:gd name="connsiteY10" fmla="*/ 2444 h 10000"/>
              <a:gd name="connsiteX11" fmla="*/ 5903 w 10517"/>
              <a:gd name="connsiteY11" fmla="*/ 1949 h 10000"/>
              <a:gd name="connsiteX12" fmla="*/ 5295 w 10517"/>
              <a:gd name="connsiteY12" fmla="*/ 1501 h 10000"/>
              <a:gd name="connsiteX13" fmla="*/ 4662 w 10517"/>
              <a:gd name="connsiteY13" fmla="*/ 1102 h 10000"/>
              <a:gd name="connsiteX14" fmla="*/ 4006 w 10517"/>
              <a:gd name="connsiteY14" fmla="*/ 782 h 10000"/>
              <a:gd name="connsiteX15" fmla="*/ 3327 w 10517"/>
              <a:gd name="connsiteY15" fmla="*/ 495 h 10000"/>
              <a:gd name="connsiteX16" fmla="*/ 2649 w 10517"/>
              <a:gd name="connsiteY16" fmla="*/ 271 h 10000"/>
              <a:gd name="connsiteX17" fmla="*/ 1946 w 10517"/>
              <a:gd name="connsiteY17" fmla="*/ 112 h 10000"/>
              <a:gd name="connsiteX18" fmla="*/ 1231 w 10517"/>
              <a:gd name="connsiteY18" fmla="*/ 16 h 10000"/>
              <a:gd name="connsiteX19" fmla="*/ 0 w 10517"/>
              <a:gd name="connsiteY19" fmla="*/ 0 h 10000"/>
              <a:gd name="connsiteX20" fmla="*/ 1031 w 10517"/>
              <a:gd name="connsiteY20" fmla="*/ 3223 h 10000"/>
              <a:gd name="connsiteX21" fmla="*/ 54 w 10517"/>
              <a:gd name="connsiteY21" fmla="*/ 6466 h 10000"/>
              <a:gd name="connsiteX22" fmla="*/ 3895 w 10517"/>
              <a:gd name="connsiteY22" fmla="*/ 9176 h 10000"/>
              <a:gd name="connsiteX23" fmla="*/ 2742 w 10517"/>
              <a:gd name="connsiteY23" fmla="*/ 9984 h 10000"/>
              <a:gd name="connsiteX0" fmla="*/ 2742 w 10517"/>
              <a:gd name="connsiteY0" fmla="*/ 9984 h 10000"/>
              <a:gd name="connsiteX1" fmla="*/ 8093 w 10517"/>
              <a:gd name="connsiteY1" fmla="*/ 10000 h 10000"/>
              <a:gd name="connsiteX2" fmla="*/ 8948 w 10517"/>
              <a:gd name="connsiteY2" fmla="*/ 8179 h 10000"/>
              <a:gd name="connsiteX3" fmla="*/ 9744 w 10517"/>
              <a:gd name="connsiteY3" fmla="*/ 6358 h 10000"/>
              <a:gd name="connsiteX4" fmla="*/ 10517 w 10517"/>
              <a:gd name="connsiteY4" fmla="*/ 4457 h 10000"/>
              <a:gd name="connsiteX5" fmla="*/ 8913 w 10517"/>
              <a:gd name="connsiteY5" fmla="*/ 5607 h 10000"/>
              <a:gd name="connsiteX6" fmla="*/ 8504 w 10517"/>
              <a:gd name="connsiteY6" fmla="*/ 4904 h 10000"/>
              <a:gd name="connsiteX7" fmla="*/ 8070 w 10517"/>
              <a:gd name="connsiteY7" fmla="*/ 4218 h 10000"/>
              <a:gd name="connsiteX8" fmla="*/ 7578 w 10517"/>
              <a:gd name="connsiteY8" fmla="*/ 3579 h 10000"/>
              <a:gd name="connsiteX9" fmla="*/ 7051 w 10517"/>
              <a:gd name="connsiteY9" fmla="*/ 2987 h 10000"/>
              <a:gd name="connsiteX10" fmla="*/ 6501 w 10517"/>
              <a:gd name="connsiteY10" fmla="*/ 2444 h 10000"/>
              <a:gd name="connsiteX11" fmla="*/ 5903 w 10517"/>
              <a:gd name="connsiteY11" fmla="*/ 1949 h 10000"/>
              <a:gd name="connsiteX12" fmla="*/ 5295 w 10517"/>
              <a:gd name="connsiteY12" fmla="*/ 1501 h 10000"/>
              <a:gd name="connsiteX13" fmla="*/ 4662 w 10517"/>
              <a:gd name="connsiteY13" fmla="*/ 1102 h 10000"/>
              <a:gd name="connsiteX14" fmla="*/ 4006 w 10517"/>
              <a:gd name="connsiteY14" fmla="*/ 782 h 10000"/>
              <a:gd name="connsiteX15" fmla="*/ 3327 w 10517"/>
              <a:gd name="connsiteY15" fmla="*/ 495 h 10000"/>
              <a:gd name="connsiteX16" fmla="*/ 2649 w 10517"/>
              <a:gd name="connsiteY16" fmla="*/ 271 h 10000"/>
              <a:gd name="connsiteX17" fmla="*/ 1946 w 10517"/>
              <a:gd name="connsiteY17" fmla="*/ 112 h 10000"/>
              <a:gd name="connsiteX18" fmla="*/ 1231 w 10517"/>
              <a:gd name="connsiteY18" fmla="*/ 16 h 10000"/>
              <a:gd name="connsiteX19" fmla="*/ 0 w 10517"/>
              <a:gd name="connsiteY19" fmla="*/ 0 h 10000"/>
              <a:gd name="connsiteX20" fmla="*/ 54 w 10517"/>
              <a:gd name="connsiteY20" fmla="*/ 6466 h 10000"/>
              <a:gd name="connsiteX21" fmla="*/ 3895 w 10517"/>
              <a:gd name="connsiteY21" fmla="*/ 9176 h 10000"/>
              <a:gd name="connsiteX22" fmla="*/ 2742 w 10517"/>
              <a:gd name="connsiteY22" fmla="*/ 998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517" h="10000">
                <a:moveTo>
                  <a:pt x="2742" y="9984"/>
                </a:moveTo>
                <a:lnTo>
                  <a:pt x="8093" y="10000"/>
                </a:lnTo>
                <a:lnTo>
                  <a:pt x="8948" y="8179"/>
                </a:lnTo>
                <a:lnTo>
                  <a:pt x="9744" y="6358"/>
                </a:lnTo>
                <a:lnTo>
                  <a:pt x="10517" y="4457"/>
                </a:lnTo>
                <a:lnTo>
                  <a:pt x="8913" y="5607"/>
                </a:lnTo>
                <a:lnTo>
                  <a:pt x="8504" y="4904"/>
                </a:lnTo>
                <a:lnTo>
                  <a:pt x="8070" y="4218"/>
                </a:lnTo>
                <a:lnTo>
                  <a:pt x="7578" y="3579"/>
                </a:lnTo>
                <a:lnTo>
                  <a:pt x="7051" y="2987"/>
                </a:lnTo>
                <a:lnTo>
                  <a:pt x="6501" y="2444"/>
                </a:lnTo>
                <a:lnTo>
                  <a:pt x="5903" y="1949"/>
                </a:lnTo>
                <a:lnTo>
                  <a:pt x="5295" y="1501"/>
                </a:lnTo>
                <a:lnTo>
                  <a:pt x="4662" y="1102"/>
                </a:lnTo>
                <a:lnTo>
                  <a:pt x="4006" y="782"/>
                </a:lnTo>
                <a:lnTo>
                  <a:pt x="3327" y="495"/>
                </a:lnTo>
                <a:lnTo>
                  <a:pt x="2649" y="271"/>
                </a:lnTo>
                <a:lnTo>
                  <a:pt x="1946" y="112"/>
                </a:lnTo>
                <a:lnTo>
                  <a:pt x="1231" y="16"/>
                </a:lnTo>
                <a:lnTo>
                  <a:pt x="0" y="0"/>
                </a:lnTo>
                <a:cubicBezTo>
                  <a:pt x="18" y="2155"/>
                  <a:pt x="36" y="4311"/>
                  <a:pt x="54" y="6466"/>
                </a:cubicBezTo>
                <a:cubicBezTo>
                  <a:pt x="2834" y="6768"/>
                  <a:pt x="3492" y="8426"/>
                  <a:pt x="3895" y="9176"/>
                </a:cubicBezTo>
                <a:lnTo>
                  <a:pt x="2742" y="9984"/>
                </a:lnTo>
              </a:path>
            </a:pathLst>
          </a:custGeom>
          <a:solidFill>
            <a:schemeClr val="accent3">
              <a:lumMod val="75000"/>
            </a:schemeClr>
          </a:solidFill>
          <a:ln w="9525">
            <a:noFill/>
            <a:round/>
            <a:headEnd/>
            <a:tailEnd/>
          </a:ln>
        </p:spPr>
        <p:txBody>
          <a:bodyPr lIns="0" tIns="0" rIns="0" bIns="0"/>
          <a:lstStyle/>
          <a:p>
            <a:endParaRPr lang="da-DK" sz="1050">
              <a:latin typeface="Calibri" panose="020F0502020204030204" pitchFamily="34" charset="0"/>
            </a:endParaRPr>
          </a:p>
        </p:txBody>
      </p:sp>
      <p:sp>
        <p:nvSpPr>
          <p:cNvPr id="34" name="Freeform 30"/>
          <p:cNvSpPr>
            <a:spLocks/>
          </p:cNvSpPr>
          <p:nvPr/>
        </p:nvSpPr>
        <p:spPr bwMode="auto">
          <a:xfrm rot="5400000">
            <a:off x="8282280" y="3282791"/>
            <a:ext cx="447525" cy="690292"/>
          </a:xfrm>
          <a:custGeom>
            <a:avLst/>
            <a:gdLst>
              <a:gd name="T0" fmla="*/ 5302480 w 855"/>
              <a:gd name="T1" fmla="*/ 2147483647 h 627"/>
              <a:gd name="T2" fmla="*/ 18068655 w 855"/>
              <a:gd name="T3" fmla="*/ 2147483647 h 627"/>
              <a:gd name="T4" fmla="*/ 20120468 w 855"/>
              <a:gd name="T5" fmla="*/ 2147483647 h 627"/>
              <a:gd name="T6" fmla="*/ 21997386 w 855"/>
              <a:gd name="T7" fmla="*/ 2147483647 h 627"/>
              <a:gd name="T8" fmla="*/ 23856788 w 855"/>
              <a:gd name="T9" fmla="*/ 2147483647 h 627"/>
              <a:gd name="T10" fmla="*/ 19986604 w 855"/>
              <a:gd name="T11" fmla="*/ 2147483647 h 627"/>
              <a:gd name="T12" fmla="*/ 19052815 w 855"/>
              <a:gd name="T13" fmla="*/ 2147483647 h 627"/>
              <a:gd name="T14" fmla="*/ 18011923 w 855"/>
              <a:gd name="T15" fmla="*/ 2147483647 h 627"/>
              <a:gd name="T16" fmla="*/ 16821314 w 855"/>
              <a:gd name="T17" fmla="*/ 2147483647 h 627"/>
              <a:gd name="T18" fmla="*/ 15572719 w 855"/>
              <a:gd name="T19" fmla="*/ 2147483647 h 627"/>
              <a:gd name="T20" fmla="*/ 14276284 w 855"/>
              <a:gd name="T21" fmla="*/ 2147483647 h 627"/>
              <a:gd name="T22" fmla="*/ 12844820 w 855"/>
              <a:gd name="T23" fmla="*/ 2147483647 h 627"/>
              <a:gd name="T24" fmla="*/ 11393088 w 855"/>
              <a:gd name="T25" fmla="*/ 2147483647 h 627"/>
              <a:gd name="T26" fmla="*/ 9888534 w 855"/>
              <a:gd name="T27" fmla="*/ 2147483647 h 627"/>
              <a:gd name="T28" fmla="*/ 8297297 w 855"/>
              <a:gd name="T29" fmla="*/ 2147483647 h 627"/>
              <a:gd name="T30" fmla="*/ 6695248 w 855"/>
              <a:gd name="T31" fmla="*/ 2147483647 h 627"/>
              <a:gd name="T32" fmla="*/ 5104431 w 855"/>
              <a:gd name="T33" fmla="*/ 2147483647 h 627"/>
              <a:gd name="T34" fmla="*/ 3431821 w 855"/>
              <a:gd name="T35" fmla="*/ 1594791371 h 627"/>
              <a:gd name="T36" fmla="*/ 1677210 w 855"/>
              <a:gd name="T37" fmla="*/ 1 h 627"/>
              <a:gd name="T38" fmla="*/ 0 w 855"/>
              <a:gd name="T39" fmla="*/ 0 h 627"/>
              <a:gd name="T40" fmla="*/ 4555625 w 855"/>
              <a:gd name="T41" fmla="*/ 2147483647 h 627"/>
              <a:gd name="T42" fmla="*/ 1700142 w 855"/>
              <a:gd name="T43" fmla="*/ 2147483647 h 627"/>
              <a:gd name="T44" fmla="*/ 2890350 w 855"/>
              <a:gd name="T45" fmla="*/ 2147483647 h 627"/>
              <a:gd name="T46" fmla="*/ 3980498 w 855"/>
              <a:gd name="T47" fmla="*/ 2147483647 h 627"/>
              <a:gd name="T48" fmla="*/ 5104431 w 855"/>
              <a:gd name="T49" fmla="*/ 2147483647 h 627"/>
              <a:gd name="T50" fmla="*/ 6077373 w 855"/>
              <a:gd name="T51" fmla="*/ 2147483647 h 627"/>
              <a:gd name="T52" fmla="*/ 7053067 w 855"/>
              <a:gd name="T53" fmla="*/ 2147483647 h 627"/>
              <a:gd name="T54" fmla="*/ 7933782 w 855"/>
              <a:gd name="T55" fmla="*/ 2147483647 h 627"/>
              <a:gd name="T56" fmla="*/ 8802287 w 855"/>
              <a:gd name="T57" fmla="*/ 2147483647 h 627"/>
              <a:gd name="T58" fmla="*/ 9578845 w 855"/>
              <a:gd name="T59" fmla="*/ 2147483647 h 627"/>
              <a:gd name="T60" fmla="*/ 5302480 w 855"/>
              <a:gd name="T61" fmla="*/ 2147483647 h 62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55"/>
              <a:gd name="T94" fmla="*/ 0 h 627"/>
              <a:gd name="T95" fmla="*/ 855 w 855"/>
              <a:gd name="T96" fmla="*/ 627 h 627"/>
              <a:gd name="connsiteX0" fmla="*/ 2222 w 9988"/>
              <a:gd name="connsiteY0" fmla="*/ 9968 h 9984"/>
              <a:gd name="connsiteX1" fmla="*/ 7567 w 9988"/>
              <a:gd name="connsiteY1" fmla="*/ 9984 h 9984"/>
              <a:gd name="connsiteX2" fmla="*/ 8421 w 9988"/>
              <a:gd name="connsiteY2" fmla="*/ 8166 h 9984"/>
              <a:gd name="connsiteX3" fmla="*/ 9216 w 9988"/>
              <a:gd name="connsiteY3" fmla="*/ 6348 h 9984"/>
              <a:gd name="connsiteX4" fmla="*/ 9988 w 9988"/>
              <a:gd name="connsiteY4" fmla="*/ 4450 h 9984"/>
              <a:gd name="connsiteX5" fmla="*/ 8386 w 9988"/>
              <a:gd name="connsiteY5" fmla="*/ 5598 h 9984"/>
              <a:gd name="connsiteX6" fmla="*/ 7977 w 9988"/>
              <a:gd name="connsiteY6" fmla="*/ 4896 h 9984"/>
              <a:gd name="connsiteX7" fmla="*/ 7544 w 9988"/>
              <a:gd name="connsiteY7" fmla="*/ 4211 h 9984"/>
              <a:gd name="connsiteX8" fmla="*/ 7053 w 9988"/>
              <a:gd name="connsiteY8" fmla="*/ 3573 h 9984"/>
              <a:gd name="connsiteX9" fmla="*/ 6526 w 9988"/>
              <a:gd name="connsiteY9" fmla="*/ 2982 h 9984"/>
              <a:gd name="connsiteX10" fmla="*/ 5977 w 9988"/>
              <a:gd name="connsiteY10" fmla="*/ 2440 h 9984"/>
              <a:gd name="connsiteX11" fmla="*/ 5380 w 9988"/>
              <a:gd name="connsiteY11" fmla="*/ 1946 h 9984"/>
              <a:gd name="connsiteX12" fmla="*/ 4772 w 9988"/>
              <a:gd name="connsiteY12" fmla="*/ 1499 h 9984"/>
              <a:gd name="connsiteX13" fmla="*/ 4140 w 9988"/>
              <a:gd name="connsiteY13" fmla="*/ 1100 h 9984"/>
              <a:gd name="connsiteX14" fmla="*/ 3485 w 9988"/>
              <a:gd name="connsiteY14" fmla="*/ 781 h 9984"/>
              <a:gd name="connsiteX15" fmla="*/ 2807 w 9988"/>
              <a:gd name="connsiteY15" fmla="*/ 494 h 9984"/>
              <a:gd name="connsiteX16" fmla="*/ 2129 w 9988"/>
              <a:gd name="connsiteY16" fmla="*/ 271 h 9984"/>
              <a:gd name="connsiteX17" fmla="*/ 1427 w 9988"/>
              <a:gd name="connsiteY17" fmla="*/ 112 h 9984"/>
              <a:gd name="connsiteX18" fmla="*/ 713 w 9988"/>
              <a:gd name="connsiteY18" fmla="*/ 16 h 9984"/>
              <a:gd name="connsiteX19" fmla="*/ 0 w 9988"/>
              <a:gd name="connsiteY19" fmla="*/ 0 h 9984"/>
              <a:gd name="connsiteX20" fmla="*/ 1895 w 9988"/>
              <a:gd name="connsiteY20" fmla="*/ 2887 h 9984"/>
              <a:gd name="connsiteX21" fmla="*/ 95 w 9988"/>
              <a:gd name="connsiteY21" fmla="*/ 6541 h 9984"/>
              <a:gd name="connsiteX22" fmla="*/ 1205 w 9988"/>
              <a:gd name="connsiteY22" fmla="*/ 6364 h 9984"/>
              <a:gd name="connsiteX23" fmla="*/ 1673 w 9988"/>
              <a:gd name="connsiteY23" fmla="*/ 6555 h 9984"/>
              <a:gd name="connsiteX24" fmla="*/ 2129 w 9988"/>
              <a:gd name="connsiteY24" fmla="*/ 6794 h 9984"/>
              <a:gd name="connsiteX25" fmla="*/ 2550 w 9988"/>
              <a:gd name="connsiteY25" fmla="*/ 7081 h 9984"/>
              <a:gd name="connsiteX26" fmla="*/ 2959 w 9988"/>
              <a:gd name="connsiteY26" fmla="*/ 7432 h 9984"/>
              <a:gd name="connsiteX27" fmla="*/ 3333 w 9988"/>
              <a:gd name="connsiteY27" fmla="*/ 7815 h 9984"/>
              <a:gd name="connsiteX28" fmla="*/ 3684 w 9988"/>
              <a:gd name="connsiteY28" fmla="*/ 8230 h 9984"/>
              <a:gd name="connsiteX29" fmla="*/ 4012 w 9988"/>
              <a:gd name="connsiteY29" fmla="*/ 8692 h 9984"/>
              <a:gd name="connsiteX30" fmla="*/ 2222 w 9988"/>
              <a:gd name="connsiteY30" fmla="*/ 9968 h 9984"/>
              <a:gd name="connsiteX0" fmla="*/ 2225 w 10000"/>
              <a:gd name="connsiteY0" fmla="*/ 9984 h 10000"/>
              <a:gd name="connsiteX1" fmla="*/ 7576 w 10000"/>
              <a:gd name="connsiteY1" fmla="*/ 10000 h 10000"/>
              <a:gd name="connsiteX2" fmla="*/ 8431 w 10000"/>
              <a:gd name="connsiteY2" fmla="*/ 8179 h 10000"/>
              <a:gd name="connsiteX3" fmla="*/ 9227 w 10000"/>
              <a:gd name="connsiteY3" fmla="*/ 6358 h 10000"/>
              <a:gd name="connsiteX4" fmla="*/ 10000 w 10000"/>
              <a:gd name="connsiteY4" fmla="*/ 4457 h 10000"/>
              <a:gd name="connsiteX5" fmla="*/ 8396 w 10000"/>
              <a:gd name="connsiteY5" fmla="*/ 5607 h 10000"/>
              <a:gd name="connsiteX6" fmla="*/ 7987 w 10000"/>
              <a:gd name="connsiteY6" fmla="*/ 4904 h 10000"/>
              <a:gd name="connsiteX7" fmla="*/ 7553 w 10000"/>
              <a:gd name="connsiteY7" fmla="*/ 4218 h 10000"/>
              <a:gd name="connsiteX8" fmla="*/ 7061 w 10000"/>
              <a:gd name="connsiteY8" fmla="*/ 3579 h 10000"/>
              <a:gd name="connsiteX9" fmla="*/ 6534 w 10000"/>
              <a:gd name="connsiteY9" fmla="*/ 2987 h 10000"/>
              <a:gd name="connsiteX10" fmla="*/ 5984 w 10000"/>
              <a:gd name="connsiteY10" fmla="*/ 2444 h 10000"/>
              <a:gd name="connsiteX11" fmla="*/ 5386 w 10000"/>
              <a:gd name="connsiteY11" fmla="*/ 1949 h 10000"/>
              <a:gd name="connsiteX12" fmla="*/ 4778 w 10000"/>
              <a:gd name="connsiteY12" fmla="*/ 1501 h 10000"/>
              <a:gd name="connsiteX13" fmla="*/ 4145 w 10000"/>
              <a:gd name="connsiteY13" fmla="*/ 1102 h 10000"/>
              <a:gd name="connsiteX14" fmla="*/ 3489 w 10000"/>
              <a:gd name="connsiteY14" fmla="*/ 782 h 10000"/>
              <a:gd name="connsiteX15" fmla="*/ 2810 w 10000"/>
              <a:gd name="connsiteY15" fmla="*/ 495 h 10000"/>
              <a:gd name="connsiteX16" fmla="*/ 2132 w 10000"/>
              <a:gd name="connsiteY16" fmla="*/ 271 h 10000"/>
              <a:gd name="connsiteX17" fmla="*/ 1429 w 10000"/>
              <a:gd name="connsiteY17" fmla="*/ 112 h 10000"/>
              <a:gd name="connsiteX18" fmla="*/ 714 w 10000"/>
              <a:gd name="connsiteY18" fmla="*/ 16 h 10000"/>
              <a:gd name="connsiteX19" fmla="*/ 0 w 10000"/>
              <a:gd name="connsiteY19" fmla="*/ 0 h 10000"/>
              <a:gd name="connsiteX20" fmla="*/ 987 w 10000"/>
              <a:gd name="connsiteY20" fmla="*/ 3182 h 10000"/>
              <a:gd name="connsiteX21" fmla="*/ 95 w 10000"/>
              <a:gd name="connsiteY21" fmla="*/ 6551 h 10000"/>
              <a:gd name="connsiteX22" fmla="*/ 1206 w 10000"/>
              <a:gd name="connsiteY22" fmla="*/ 6374 h 10000"/>
              <a:gd name="connsiteX23" fmla="*/ 1675 w 10000"/>
              <a:gd name="connsiteY23" fmla="*/ 6566 h 10000"/>
              <a:gd name="connsiteX24" fmla="*/ 2132 w 10000"/>
              <a:gd name="connsiteY24" fmla="*/ 6805 h 10000"/>
              <a:gd name="connsiteX25" fmla="*/ 2553 w 10000"/>
              <a:gd name="connsiteY25" fmla="*/ 7092 h 10000"/>
              <a:gd name="connsiteX26" fmla="*/ 2963 w 10000"/>
              <a:gd name="connsiteY26" fmla="*/ 7444 h 10000"/>
              <a:gd name="connsiteX27" fmla="*/ 3337 w 10000"/>
              <a:gd name="connsiteY27" fmla="*/ 7828 h 10000"/>
              <a:gd name="connsiteX28" fmla="*/ 3688 w 10000"/>
              <a:gd name="connsiteY28" fmla="*/ 8243 h 10000"/>
              <a:gd name="connsiteX29" fmla="*/ 4017 w 10000"/>
              <a:gd name="connsiteY29" fmla="*/ 8706 h 10000"/>
              <a:gd name="connsiteX30" fmla="*/ 2225 w 10000"/>
              <a:gd name="connsiteY30" fmla="*/ 9984 h 10000"/>
              <a:gd name="connsiteX0" fmla="*/ 2540 w 10315"/>
              <a:gd name="connsiteY0" fmla="*/ 9984 h 10000"/>
              <a:gd name="connsiteX1" fmla="*/ 7891 w 10315"/>
              <a:gd name="connsiteY1" fmla="*/ 10000 h 10000"/>
              <a:gd name="connsiteX2" fmla="*/ 8746 w 10315"/>
              <a:gd name="connsiteY2" fmla="*/ 8179 h 10000"/>
              <a:gd name="connsiteX3" fmla="*/ 9542 w 10315"/>
              <a:gd name="connsiteY3" fmla="*/ 6358 h 10000"/>
              <a:gd name="connsiteX4" fmla="*/ 10315 w 10315"/>
              <a:gd name="connsiteY4" fmla="*/ 4457 h 10000"/>
              <a:gd name="connsiteX5" fmla="*/ 8711 w 10315"/>
              <a:gd name="connsiteY5" fmla="*/ 5607 h 10000"/>
              <a:gd name="connsiteX6" fmla="*/ 8302 w 10315"/>
              <a:gd name="connsiteY6" fmla="*/ 4904 h 10000"/>
              <a:gd name="connsiteX7" fmla="*/ 7868 w 10315"/>
              <a:gd name="connsiteY7" fmla="*/ 4218 h 10000"/>
              <a:gd name="connsiteX8" fmla="*/ 7376 w 10315"/>
              <a:gd name="connsiteY8" fmla="*/ 3579 h 10000"/>
              <a:gd name="connsiteX9" fmla="*/ 6849 w 10315"/>
              <a:gd name="connsiteY9" fmla="*/ 2987 h 10000"/>
              <a:gd name="connsiteX10" fmla="*/ 6299 w 10315"/>
              <a:gd name="connsiteY10" fmla="*/ 2444 h 10000"/>
              <a:gd name="connsiteX11" fmla="*/ 5701 w 10315"/>
              <a:gd name="connsiteY11" fmla="*/ 1949 h 10000"/>
              <a:gd name="connsiteX12" fmla="*/ 5093 w 10315"/>
              <a:gd name="connsiteY12" fmla="*/ 1501 h 10000"/>
              <a:gd name="connsiteX13" fmla="*/ 4460 w 10315"/>
              <a:gd name="connsiteY13" fmla="*/ 1102 h 10000"/>
              <a:gd name="connsiteX14" fmla="*/ 3804 w 10315"/>
              <a:gd name="connsiteY14" fmla="*/ 782 h 10000"/>
              <a:gd name="connsiteX15" fmla="*/ 3125 w 10315"/>
              <a:gd name="connsiteY15" fmla="*/ 495 h 10000"/>
              <a:gd name="connsiteX16" fmla="*/ 2447 w 10315"/>
              <a:gd name="connsiteY16" fmla="*/ 271 h 10000"/>
              <a:gd name="connsiteX17" fmla="*/ 1744 w 10315"/>
              <a:gd name="connsiteY17" fmla="*/ 112 h 10000"/>
              <a:gd name="connsiteX18" fmla="*/ 1029 w 10315"/>
              <a:gd name="connsiteY18" fmla="*/ 16 h 10000"/>
              <a:gd name="connsiteX19" fmla="*/ 0 w 10315"/>
              <a:gd name="connsiteY19" fmla="*/ 0 h 10000"/>
              <a:gd name="connsiteX20" fmla="*/ 1302 w 10315"/>
              <a:gd name="connsiteY20" fmla="*/ 3182 h 10000"/>
              <a:gd name="connsiteX21" fmla="*/ 410 w 10315"/>
              <a:gd name="connsiteY21" fmla="*/ 6551 h 10000"/>
              <a:gd name="connsiteX22" fmla="*/ 1521 w 10315"/>
              <a:gd name="connsiteY22" fmla="*/ 6374 h 10000"/>
              <a:gd name="connsiteX23" fmla="*/ 1990 w 10315"/>
              <a:gd name="connsiteY23" fmla="*/ 6566 h 10000"/>
              <a:gd name="connsiteX24" fmla="*/ 2447 w 10315"/>
              <a:gd name="connsiteY24" fmla="*/ 6805 h 10000"/>
              <a:gd name="connsiteX25" fmla="*/ 2868 w 10315"/>
              <a:gd name="connsiteY25" fmla="*/ 7092 h 10000"/>
              <a:gd name="connsiteX26" fmla="*/ 3278 w 10315"/>
              <a:gd name="connsiteY26" fmla="*/ 7444 h 10000"/>
              <a:gd name="connsiteX27" fmla="*/ 3652 w 10315"/>
              <a:gd name="connsiteY27" fmla="*/ 7828 h 10000"/>
              <a:gd name="connsiteX28" fmla="*/ 4003 w 10315"/>
              <a:gd name="connsiteY28" fmla="*/ 8243 h 10000"/>
              <a:gd name="connsiteX29" fmla="*/ 4332 w 10315"/>
              <a:gd name="connsiteY29" fmla="*/ 8706 h 10000"/>
              <a:gd name="connsiteX30" fmla="*/ 2540 w 10315"/>
              <a:gd name="connsiteY30"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1601 w 10395"/>
              <a:gd name="connsiteY22" fmla="*/ 6374 h 10000"/>
              <a:gd name="connsiteX23" fmla="*/ 2070 w 10395"/>
              <a:gd name="connsiteY23" fmla="*/ 6566 h 10000"/>
              <a:gd name="connsiteX24" fmla="*/ 2527 w 10395"/>
              <a:gd name="connsiteY24" fmla="*/ 6805 h 10000"/>
              <a:gd name="connsiteX25" fmla="*/ 2948 w 10395"/>
              <a:gd name="connsiteY25" fmla="*/ 7092 h 10000"/>
              <a:gd name="connsiteX26" fmla="*/ 3358 w 10395"/>
              <a:gd name="connsiteY26" fmla="*/ 7444 h 10000"/>
              <a:gd name="connsiteX27" fmla="*/ 3732 w 10395"/>
              <a:gd name="connsiteY27" fmla="*/ 7828 h 10000"/>
              <a:gd name="connsiteX28" fmla="*/ 4083 w 10395"/>
              <a:gd name="connsiteY28" fmla="*/ 8243 h 10000"/>
              <a:gd name="connsiteX29" fmla="*/ 4412 w 10395"/>
              <a:gd name="connsiteY29" fmla="*/ 8706 h 10000"/>
              <a:gd name="connsiteX30" fmla="*/ 2620 w 10395"/>
              <a:gd name="connsiteY30"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1601 w 10395"/>
              <a:gd name="connsiteY22" fmla="*/ 6772 h 10000"/>
              <a:gd name="connsiteX23" fmla="*/ 2070 w 10395"/>
              <a:gd name="connsiteY23" fmla="*/ 6566 h 10000"/>
              <a:gd name="connsiteX24" fmla="*/ 2527 w 10395"/>
              <a:gd name="connsiteY24" fmla="*/ 6805 h 10000"/>
              <a:gd name="connsiteX25" fmla="*/ 2948 w 10395"/>
              <a:gd name="connsiteY25" fmla="*/ 7092 h 10000"/>
              <a:gd name="connsiteX26" fmla="*/ 3358 w 10395"/>
              <a:gd name="connsiteY26" fmla="*/ 7444 h 10000"/>
              <a:gd name="connsiteX27" fmla="*/ 3732 w 10395"/>
              <a:gd name="connsiteY27" fmla="*/ 7828 h 10000"/>
              <a:gd name="connsiteX28" fmla="*/ 4083 w 10395"/>
              <a:gd name="connsiteY28" fmla="*/ 8243 h 10000"/>
              <a:gd name="connsiteX29" fmla="*/ 4412 w 10395"/>
              <a:gd name="connsiteY29" fmla="*/ 8706 h 10000"/>
              <a:gd name="connsiteX30" fmla="*/ 2620 w 10395"/>
              <a:gd name="connsiteY30"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1601 w 10395"/>
              <a:gd name="connsiteY22" fmla="*/ 6772 h 10000"/>
              <a:gd name="connsiteX23" fmla="*/ 2070 w 10395"/>
              <a:gd name="connsiteY23" fmla="*/ 7145 h 10000"/>
              <a:gd name="connsiteX24" fmla="*/ 2527 w 10395"/>
              <a:gd name="connsiteY24" fmla="*/ 6805 h 10000"/>
              <a:gd name="connsiteX25" fmla="*/ 2948 w 10395"/>
              <a:gd name="connsiteY25" fmla="*/ 7092 h 10000"/>
              <a:gd name="connsiteX26" fmla="*/ 3358 w 10395"/>
              <a:gd name="connsiteY26" fmla="*/ 7444 h 10000"/>
              <a:gd name="connsiteX27" fmla="*/ 3732 w 10395"/>
              <a:gd name="connsiteY27" fmla="*/ 7828 h 10000"/>
              <a:gd name="connsiteX28" fmla="*/ 4083 w 10395"/>
              <a:gd name="connsiteY28" fmla="*/ 8243 h 10000"/>
              <a:gd name="connsiteX29" fmla="*/ 4412 w 10395"/>
              <a:gd name="connsiteY29" fmla="*/ 8706 h 10000"/>
              <a:gd name="connsiteX30" fmla="*/ 2620 w 10395"/>
              <a:gd name="connsiteY30"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1601 w 10395"/>
              <a:gd name="connsiteY22" fmla="*/ 6772 h 10000"/>
              <a:gd name="connsiteX23" fmla="*/ 2070 w 10395"/>
              <a:gd name="connsiteY23" fmla="*/ 7145 h 10000"/>
              <a:gd name="connsiteX24" fmla="*/ 2492 w 10395"/>
              <a:gd name="connsiteY24" fmla="*/ 7384 h 10000"/>
              <a:gd name="connsiteX25" fmla="*/ 2948 w 10395"/>
              <a:gd name="connsiteY25" fmla="*/ 7092 h 10000"/>
              <a:gd name="connsiteX26" fmla="*/ 3358 w 10395"/>
              <a:gd name="connsiteY26" fmla="*/ 7444 h 10000"/>
              <a:gd name="connsiteX27" fmla="*/ 3732 w 10395"/>
              <a:gd name="connsiteY27" fmla="*/ 7828 h 10000"/>
              <a:gd name="connsiteX28" fmla="*/ 4083 w 10395"/>
              <a:gd name="connsiteY28" fmla="*/ 8243 h 10000"/>
              <a:gd name="connsiteX29" fmla="*/ 4412 w 10395"/>
              <a:gd name="connsiteY29" fmla="*/ 8706 h 10000"/>
              <a:gd name="connsiteX30" fmla="*/ 2620 w 10395"/>
              <a:gd name="connsiteY30"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1601 w 10395"/>
              <a:gd name="connsiteY22" fmla="*/ 6772 h 10000"/>
              <a:gd name="connsiteX23" fmla="*/ 2070 w 10395"/>
              <a:gd name="connsiteY23" fmla="*/ 7145 h 10000"/>
              <a:gd name="connsiteX24" fmla="*/ 2492 w 10395"/>
              <a:gd name="connsiteY24" fmla="*/ 7384 h 10000"/>
              <a:gd name="connsiteX25" fmla="*/ 2843 w 10395"/>
              <a:gd name="connsiteY25" fmla="*/ 7743 h 10000"/>
              <a:gd name="connsiteX26" fmla="*/ 3358 w 10395"/>
              <a:gd name="connsiteY26" fmla="*/ 7444 h 10000"/>
              <a:gd name="connsiteX27" fmla="*/ 3732 w 10395"/>
              <a:gd name="connsiteY27" fmla="*/ 7828 h 10000"/>
              <a:gd name="connsiteX28" fmla="*/ 4083 w 10395"/>
              <a:gd name="connsiteY28" fmla="*/ 8243 h 10000"/>
              <a:gd name="connsiteX29" fmla="*/ 4412 w 10395"/>
              <a:gd name="connsiteY29" fmla="*/ 8706 h 10000"/>
              <a:gd name="connsiteX30" fmla="*/ 2620 w 10395"/>
              <a:gd name="connsiteY30"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1601 w 10395"/>
              <a:gd name="connsiteY22" fmla="*/ 6772 h 10000"/>
              <a:gd name="connsiteX23" fmla="*/ 2070 w 10395"/>
              <a:gd name="connsiteY23" fmla="*/ 7145 h 10000"/>
              <a:gd name="connsiteX24" fmla="*/ 2492 w 10395"/>
              <a:gd name="connsiteY24" fmla="*/ 7384 h 10000"/>
              <a:gd name="connsiteX25" fmla="*/ 2843 w 10395"/>
              <a:gd name="connsiteY25" fmla="*/ 7743 h 10000"/>
              <a:gd name="connsiteX26" fmla="*/ 3113 w 10395"/>
              <a:gd name="connsiteY26" fmla="*/ 8132 h 10000"/>
              <a:gd name="connsiteX27" fmla="*/ 3732 w 10395"/>
              <a:gd name="connsiteY27" fmla="*/ 7828 h 10000"/>
              <a:gd name="connsiteX28" fmla="*/ 4083 w 10395"/>
              <a:gd name="connsiteY28" fmla="*/ 8243 h 10000"/>
              <a:gd name="connsiteX29" fmla="*/ 4412 w 10395"/>
              <a:gd name="connsiteY29" fmla="*/ 8706 h 10000"/>
              <a:gd name="connsiteX30" fmla="*/ 2620 w 10395"/>
              <a:gd name="connsiteY30"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1601 w 10395"/>
              <a:gd name="connsiteY22" fmla="*/ 6772 h 10000"/>
              <a:gd name="connsiteX23" fmla="*/ 2070 w 10395"/>
              <a:gd name="connsiteY23" fmla="*/ 7145 h 10000"/>
              <a:gd name="connsiteX24" fmla="*/ 2492 w 10395"/>
              <a:gd name="connsiteY24" fmla="*/ 7384 h 10000"/>
              <a:gd name="connsiteX25" fmla="*/ 2843 w 10395"/>
              <a:gd name="connsiteY25" fmla="*/ 7743 h 10000"/>
              <a:gd name="connsiteX26" fmla="*/ 3113 w 10395"/>
              <a:gd name="connsiteY26" fmla="*/ 8132 h 10000"/>
              <a:gd name="connsiteX27" fmla="*/ 3487 w 10395"/>
              <a:gd name="connsiteY27" fmla="*/ 8552 h 10000"/>
              <a:gd name="connsiteX28" fmla="*/ 4083 w 10395"/>
              <a:gd name="connsiteY28" fmla="*/ 8243 h 10000"/>
              <a:gd name="connsiteX29" fmla="*/ 4412 w 10395"/>
              <a:gd name="connsiteY29" fmla="*/ 8706 h 10000"/>
              <a:gd name="connsiteX30" fmla="*/ 2620 w 10395"/>
              <a:gd name="connsiteY30"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1601 w 10395"/>
              <a:gd name="connsiteY22" fmla="*/ 6772 h 10000"/>
              <a:gd name="connsiteX23" fmla="*/ 2070 w 10395"/>
              <a:gd name="connsiteY23" fmla="*/ 7145 h 10000"/>
              <a:gd name="connsiteX24" fmla="*/ 2492 w 10395"/>
              <a:gd name="connsiteY24" fmla="*/ 7384 h 10000"/>
              <a:gd name="connsiteX25" fmla="*/ 2843 w 10395"/>
              <a:gd name="connsiteY25" fmla="*/ 7743 h 10000"/>
              <a:gd name="connsiteX26" fmla="*/ 3113 w 10395"/>
              <a:gd name="connsiteY26" fmla="*/ 8132 h 10000"/>
              <a:gd name="connsiteX27" fmla="*/ 3487 w 10395"/>
              <a:gd name="connsiteY27" fmla="*/ 8552 h 10000"/>
              <a:gd name="connsiteX28" fmla="*/ 3663 w 10395"/>
              <a:gd name="connsiteY28" fmla="*/ 8931 h 10000"/>
              <a:gd name="connsiteX29" fmla="*/ 4412 w 10395"/>
              <a:gd name="connsiteY29" fmla="*/ 8706 h 10000"/>
              <a:gd name="connsiteX30" fmla="*/ 2620 w 10395"/>
              <a:gd name="connsiteY30"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1601 w 10395"/>
              <a:gd name="connsiteY22" fmla="*/ 6772 h 10000"/>
              <a:gd name="connsiteX23" fmla="*/ 2070 w 10395"/>
              <a:gd name="connsiteY23" fmla="*/ 7145 h 10000"/>
              <a:gd name="connsiteX24" fmla="*/ 2492 w 10395"/>
              <a:gd name="connsiteY24" fmla="*/ 7384 h 10000"/>
              <a:gd name="connsiteX25" fmla="*/ 2843 w 10395"/>
              <a:gd name="connsiteY25" fmla="*/ 7743 h 10000"/>
              <a:gd name="connsiteX26" fmla="*/ 3113 w 10395"/>
              <a:gd name="connsiteY26" fmla="*/ 8132 h 10000"/>
              <a:gd name="connsiteX27" fmla="*/ 3487 w 10395"/>
              <a:gd name="connsiteY27" fmla="*/ 8552 h 10000"/>
              <a:gd name="connsiteX28" fmla="*/ 3663 w 10395"/>
              <a:gd name="connsiteY28" fmla="*/ 8931 h 10000"/>
              <a:gd name="connsiteX29" fmla="*/ 3852 w 10395"/>
              <a:gd name="connsiteY29" fmla="*/ 9176 h 10000"/>
              <a:gd name="connsiteX30" fmla="*/ 2620 w 10395"/>
              <a:gd name="connsiteY30"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2070 w 10395"/>
              <a:gd name="connsiteY22" fmla="*/ 7145 h 10000"/>
              <a:gd name="connsiteX23" fmla="*/ 2492 w 10395"/>
              <a:gd name="connsiteY23" fmla="*/ 7384 h 10000"/>
              <a:gd name="connsiteX24" fmla="*/ 2843 w 10395"/>
              <a:gd name="connsiteY24" fmla="*/ 7743 h 10000"/>
              <a:gd name="connsiteX25" fmla="*/ 3113 w 10395"/>
              <a:gd name="connsiteY25" fmla="*/ 8132 h 10000"/>
              <a:gd name="connsiteX26" fmla="*/ 3487 w 10395"/>
              <a:gd name="connsiteY26" fmla="*/ 8552 h 10000"/>
              <a:gd name="connsiteX27" fmla="*/ 3663 w 10395"/>
              <a:gd name="connsiteY27" fmla="*/ 8931 h 10000"/>
              <a:gd name="connsiteX28" fmla="*/ 3852 w 10395"/>
              <a:gd name="connsiteY28" fmla="*/ 9176 h 10000"/>
              <a:gd name="connsiteX29" fmla="*/ 2620 w 10395"/>
              <a:gd name="connsiteY29"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2492 w 10395"/>
              <a:gd name="connsiteY22" fmla="*/ 7384 h 10000"/>
              <a:gd name="connsiteX23" fmla="*/ 2843 w 10395"/>
              <a:gd name="connsiteY23" fmla="*/ 7743 h 10000"/>
              <a:gd name="connsiteX24" fmla="*/ 3113 w 10395"/>
              <a:gd name="connsiteY24" fmla="*/ 8132 h 10000"/>
              <a:gd name="connsiteX25" fmla="*/ 3487 w 10395"/>
              <a:gd name="connsiteY25" fmla="*/ 8552 h 10000"/>
              <a:gd name="connsiteX26" fmla="*/ 3663 w 10395"/>
              <a:gd name="connsiteY26" fmla="*/ 8931 h 10000"/>
              <a:gd name="connsiteX27" fmla="*/ 3852 w 10395"/>
              <a:gd name="connsiteY27" fmla="*/ 9176 h 10000"/>
              <a:gd name="connsiteX28" fmla="*/ 2620 w 10395"/>
              <a:gd name="connsiteY28"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2843 w 10395"/>
              <a:gd name="connsiteY22" fmla="*/ 7743 h 10000"/>
              <a:gd name="connsiteX23" fmla="*/ 3113 w 10395"/>
              <a:gd name="connsiteY23" fmla="*/ 8132 h 10000"/>
              <a:gd name="connsiteX24" fmla="*/ 3487 w 10395"/>
              <a:gd name="connsiteY24" fmla="*/ 8552 h 10000"/>
              <a:gd name="connsiteX25" fmla="*/ 3663 w 10395"/>
              <a:gd name="connsiteY25" fmla="*/ 8931 h 10000"/>
              <a:gd name="connsiteX26" fmla="*/ 3852 w 10395"/>
              <a:gd name="connsiteY26" fmla="*/ 9176 h 10000"/>
              <a:gd name="connsiteX27" fmla="*/ 2620 w 10395"/>
              <a:gd name="connsiteY27"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2843 w 10395"/>
              <a:gd name="connsiteY22" fmla="*/ 7743 h 10000"/>
              <a:gd name="connsiteX23" fmla="*/ 3113 w 10395"/>
              <a:gd name="connsiteY23" fmla="*/ 8132 h 10000"/>
              <a:gd name="connsiteX24" fmla="*/ 3487 w 10395"/>
              <a:gd name="connsiteY24" fmla="*/ 8552 h 10000"/>
              <a:gd name="connsiteX25" fmla="*/ 3852 w 10395"/>
              <a:gd name="connsiteY25" fmla="*/ 9176 h 10000"/>
              <a:gd name="connsiteX26" fmla="*/ 2620 w 10395"/>
              <a:gd name="connsiteY26"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2843 w 10395"/>
              <a:gd name="connsiteY22" fmla="*/ 7743 h 10000"/>
              <a:gd name="connsiteX23" fmla="*/ 3113 w 10395"/>
              <a:gd name="connsiteY23" fmla="*/ 8132 h 10000"/>
              <a:gd name="connsiteX24" fmla="*/ 3852 w 10395"/>
              <a:gd name="connsiteY24" fmla="*/ 9176 h 10000"/>
              <a:gd name="connsiteX25" fmla="*/ 2620 w 10395"/>
              <a:gd name="connsiteY25"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2843 w 10395"/>
              <a:gd name="connsiteY22" fmla="*/ 7743 h 10000"/>
              <a:gd name="connsiteX23" fmla="*/ 3852 w 10395"/>
              <a:gd name="connsiteY23" fmla="*/ 9176 h 10000"/>
              <a:gd name="connsiteX24" fmla="*/ 2620 w 10395"/>
              <a:gd name="connsiteY24"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852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852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852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852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852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852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852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852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773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773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773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773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773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773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773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773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909 w 10395"/>
              <a:gd name="connsiteY20" fmla="*/ 3223 h 10000"/>
              <a:gd name="connsiteX21" fmla="*/ 0 w 10395"/>
              <a:gd name="connsiteY21" fmla="*/ 6479 h 10000"/>
              <a:gd name="connsiteX22" fmla="*/ 3773 w 10395"/>
              <a:gd name="connsiteY22" fmla="*/ 9176 h 10000"/>
              <a:gd name="connsiteX23" fmla="*/ 2620 w 10395"/>
              <a:gd name="connsiteY23" fmla="*/ 9984 h 10000"/>
              <a:gd name="connsiteX0" fmla="*/ 2688 w 10463"/>
              <a:gd name="connsiteY0" fmla="*/ 9984 h 10000"/>
              <a:gd name="connsiteX1" fmla="*/ 8039 w 10463"/>
              <a:gd name="connsiteY1" fmla="*/ 10000 h 10000"/>
              <a:gd name="connsiteX2" fmla="*/ 8894 w 10463"/>
              <a:gd name="connsiteY2" fmla="*/ 8179 h 10000"/>
              <a:gd name="connsiteX3" fmla="*/ 9690 w 10463"/>
              <a:gd name="connsiteY3" fmla="*/ 6358 h 10000"/>
              <a:gd name="connsiteX4" fmla="*/ 10463 w 10463"/>
              <a:gd name="connsiteY4" fmla="*/ 4457 h 10000"/>
              <a:gd name="connsiteX5" fmla="*/ 8859 w 10463"/>
              <a:gd name="connsiteY5" fmla="*/ 5607 h 10000"/>
              <a:gd name="connsiteX6" fmla="*/ 8450 w 10463"/>
              <a:gd name="connsiteY6" fmla="*/ 4904 h 10000"/>
              <a:gd name="connsiteX7" fmla="*/ 8016 w 10463"/>
              <a:gd name="connsiteY7" fmla="*/ 4218 h 10000"/>
              <a:gd name="connsiteX8" fmla="*/ 7524 w 10463"/>
              <a:gd name="connsiteY8" fmla="*/ 3579 h 10000"/>
              <a:gd name="connsiteX9" fmla="*/ 6997 w 10463"/>
              <a:gd name="connsiteY9" fmla="*/ 2987 h 10000"/>
              <a:gd name="connsiteX10" fmla="*/ 6447 w 10463"/>
              <a:gd name="connsiteY10" fmla="*/ 2444 h 10000"/>
              <a:gd name="connsiteX11" fmla="*/ 5849 w 10463"/>
              <a:gd name="connsiteY11" fmla="*/ 1949 h 10000"/>
              <a:gd name="connsiteX12" fmla="*/ 5241 w 10463"/>
              <a:gd name="connsiteY12" fmla="*/ 1501 h 10000"/>
              <a:gd name="connsiteX13" fmla="*/ 4608 w 10463"/>
              <a:gd name="connsiteY13" fmla="*/ 1102 h 10000"/>
              <a:gd name="connsiteX14" fmla="*/ 3952 w 10463"/>
              <a:gd name="connsiteY14" fmla="*/ 782 h 10000"/>
              <a:gd name="connsiteX15" fmla="*/ 3273 w 10463"/>
              <a:gd name="connsiteY15" fmla="*/ 495 h 10000"/>
              <a:gd name="connsiteX16" fmla="*/ 2595 w 10463"/>
              <a:gd name="connsiteY16" fmla="*/ 271 h 10000"/>
              <a:gd name="connsiteX17" fmla="*/ 1892 w 10463"/>
              <a:gd name="connsiteY17" fmla="*/ 112 h 10000"/>
              <a:gd name="connsiteX18" fmla="*/ 1177 w 10463"/>
              <a:gd name="connsiteY18" fmla="*/ 16 h 10000"/>
              <a:gd name="connsiteX19" fmla="*/ 148 w 10463"/>
              <a:gd name="connsiteY19" fmla="*/ 0 h 10000"/>
              <a:gd name="connsiteX20" fmla="*/ 977 w 10463"/>
              <a:gd name="connsiteY20" fmla="*/ 3223 h 10000"/>
              <a:gd name="connsiteX21" fmla="*/ 0 w 10463"/>
              <a:gd name="connsiteY21" fmla="*/ 6520 h 10000"/>
              <a:gd name="connsiteX22" fmla="*/ 3841 w 10463"/>
              <a:gd name="connsiteY22" fmla="*/ 9176 h 10000"/>
              <a:gd name="connsiteX23" fmla="*/ 2688 w 10463"/>
              <a:gd name="connsiteY23" fmla="*/ 9984 h 10000"/>
              <a:gd name="connsiteX0" fmla="*/ 2688 w 10463"/>
              <a:gd name="connsiteY0" fmla="*/ 9984 h 10000"/>
              <a:gd name="connsiteX1" fmla="*/ 8039 w 10463"/>
              <a:gd name="connsiteY1" fmla="*/ 10000 h 10000"/>
              <a:gd name="connsiteX2" fmla="*/ 8894 w 10463"/>
              <a:gd name="connsiteY2" fmla="*/ 8179 h 10000"/>
              <a:gd name="connsiteX3" fmla="*/ 9690 w 10463"/>
              <a:gd name="connsiteY3" fmla="*/ 6358 h 10000"/>
              <a:gd name="connsiteX4" fmla="*/ 10463 w 10463"/>
              <a:gd name="connsiteY4" fmla="*/ 4457 h 10000"/>
              <a:gd name="connsiteX5" fmla="*/ 8859 w 10463"/>
              <a:gd name="connsiteY5" fmla="*/ 5607 h 10000"/>
              <a:gd name="connsiteX6" fmla="*/ 8450 w 10463"/>
              <a:gd name="connsiteY6" fmla="*/ 4904 h 10000"/>
              <a:gd name="connsiteX7" fmla="*/ 8016 w 10463"/>
              <a:gd name="connsiteY7" fmla="*/ 4218 h 10000"/>
              <a:gd name="connsiteX8" fmla="*/ 7524 w 10463"/>
              <a:gd name="connsiteY8" fmla="*/ 3579 h 10000"/>
              <a:gd name="connsiteX9" fmla="*/ 6997 w 10463"/>
              <a:gd name="connsiteY9" fmla="*/ 2987 h 10000"/>
              <a:gd name="connsiteX10" fmla="*/ 6447 w 10463"/>
              <a:gd name="connsiteY10" fmla="*/ 2444 h 10000"/>
              <a:gd name="connsiteX11" fmla="*/ 5849 w 10463"/>
              <a:gd name="connsiteY11" fmla="*/ 1949 h 10000"/>
              <a:gd name="connsiteX12" fmla="*/ 5241 w 10463"/>
              <a:gd name="connsiteY12" fmla="*/ 1501 h 10000"/>
              <a:gd name="connsiteX13" fmla="*/ 4608 w 10463"/>
              <a:gd name="connsiteY13" fmla="*/ 1102 h 10000"/>
              <a:gd name="connsiteX14" fmla="*/ 3952 w 10463"/>
              <a:gd name="connsiteY14" fmla="*/ 782 h 10000"/>
              <a:gd name="connsiteX15" fmla="*/ 3273 w 10463"/>
              <a:gd name="connsiteY15" fmla="*/ 495 h 10000"/>
              <a:gd name="connsiteX16" fmla="*/ 2595 w 10463"/>
              <a:gd name="connsiteY16" fmla="*/ 271 h 10000"/>
              <a:gd name="connsiteX17" fmla="*/ 1892 w 10463"/>
              <a:gd name="connsiteY17" fmla="*/ 112 h 10000"/>
              <a:gd name="connsiteX18" fmla="*/ 1177 w 10463"/>
              <a:gd name="connsiteY18" fmla="*/ 16 h 10000"/>
              <a:gd name="connsiteX19" fmla="*/ 148 w 10463"/>
              <a:gd name="connsiteY19" fmla="*/ 0 h 10000"/>
              <a:gd name="connsiteX20" fmla="*/ 977 w 10463"/>
              <a:gd name="connsiteY20" fmla="*/ 3223 h 10000"/>
              <a:gd name="connsiteX21" fmla="*/ 0 w 10463"/>
              <a:gd name="connsiteY21" fmla="*/ 6466 h 10000"/>
              <a:gd name="connsiteX22" fmla="*/ 3841 w 10463"/>
              <a:gd name="connsiteY22" fmla="*/ 9176 h 10000"/>
              <a:gd name="connsiteX23" fmla="*/ 2688 w 10463"/>
              <a:gd name="connsiteY23" fmla="*/ 9984 h 10000"/>
              <a:gd name="connsiteX0" fmla="*/ 2731 w 10506"/>
              <a:gd name="connsiteY0" fmla="*/ 9984 h 10000"/>
              <a:gd name="connsiteX1" fmla="*/ 8082 w 10506"/>
              <a:gd name="connsiteY1" fmla="*/ 10000 h 10000"/>
              <a:gd name="connsiteX2" fmla="*/ 8937 w 10506"/>
              <a:gd name="connsiteY2" fmla="*/ 8179 h 10000"/>
              <a:gd name="connsiteX3" fmla="*/ 9733 w 10506"/>
              <a:gd name="connsiteY3" fmla="*/ 6358 h 10000"/>
              <a:gd name="connsiteX4" fmla="*/ 10506 w 10506"/>
              <a:gd name="connsiteY4" fmla="*/ 4457 h 10000"/>
              <a:gd name="connsiteX5" fmla="*/ 8902 w 10506"/>
              <a:gd name="connsiteY5" fmla="*/ 5607 h 10000"/>
              <a:gd name="connsiteX6" fmla="*/ 8493 w 10506"/>
              <a:gd name="connsiteY6" fmla="*/ 4904 h 10000"/>
              <a:gd name="connsiteX7" fmla="*/ 8059 w 10506"/>
              <a:gd name="connsiteY7" fmla="*/ 4218 h 10000"/>
              <a:gd name="connsiteX8" fmla="*/ 7567 w 10506"/>
              <a:gd name="connsiteY8" fmla="*/ 3579 h 10000"/>
              <a:gd name="connsiteX9" fmla="*/ 7040 w 10506"/>
              <a:gd name="connsiteY9" fmla="*/ 2987 h 10000"/>
              <a:gd name="connsiteX10" fmla="*/ 6490 w 10506"/>
              <a:gd name="connsiteY10" fmla="*/ 2444 h 10000"/>
              <a:gd name="connsiteX11" fmla="*/ 5892 w 10506"/>
              <a:gd name="connsiteY11" fmla="*/ 1949 h 10000"/>
              <a:gd name="connsiteX12" fmla="*/ 5284 w 10506"/>
              <a:gd name="connsiteY12" fmla="*/ 1501 h 10000"/>
              <a:gd name="connsiteX13" fmla="*/ 4651 w 10506"/>
              <a:gd name="connsiteY13" fmla="*/ 1102 h 10000"/>
              <a:gd name="connsiteX14" fmla="*/ 3995 w 10506"/>
              <a:gd name="connsiteY14" fmla="*/ 782 h 10000"/>
              <a:gd name="connsiteX15" fmla="*/ 3316 w 10506"/>
              <a:gd name="connsiteY15" fmla="*/ 495 h 10000"/>
              <a:gd name="connsiteX16" fmla="*/ 2638 w 10506"/>
              <a:gd name="connsiteY16" fmla="*/ 271 h 10000"/>
              <a:gd name="connsiteX17" fmla="*/ 1935 w 10506"/>
              <a:gd name="connsiteY17" fmla="*/ 112 h 10000"/>
              <a:gd name="connsiteX18" fmla="*/ 1220 w 10506"/>
              <a:gd name="connsiteY18" fmla="*/ 16 h 10000"/>
              <a:gd name="connsiteX19" fmla="*/ 0 w 10506"/>
              <a:gd name="connsiteY19" fmla="*/ 0 h 10000"/>
              <a:gd name="connsiteX20" fmla="*/ 1020 w 10506"/>
              <a:gd name="connsiteY20" fmla="*/ 3223 h 10000"/>
              <a:gd name="connsiteX21" fmla="*/ 43 w 10506"/>
              <a:gd name="connsiteY21" fmla="*/ 6466 h 10000"/>
              <a:gd name="connsiteX22" fmla="*/ 3884 w 10506"/>
              <a:gd name="connsiteY22" fmla="*/ 9176 h 10000"/>
              <a:gd name="connsiteX23" fmla="*/ 2731 w 10506"/>
              <a:gd name="connsiteY23" fmla="*/ 9984 h 10000"/>
              <a:gd name="connsiteX0" fmla="*/ 2742 w 10517"/>
              <a:gd name="connsiteY0" fmla="*/ 9984 h 10000"/>
              <a:gd name="connsiteX1" fmla="*/ 8093 w 10517"/>
              <a:gd name="connsiteY1" fmla="*/ 10000 h 10000"/>
              <a:gd name="connsiteX2" fmla="*/ 8948 w 10517"/>
              <a:gd name="connsiteY2" fmla="*/ 8179 h 10000"/>
              <a:gd name="connsiteX3" fmla="*/ 9744 w 10517"/>
              <a:gd name="connsiteY3" fmla="*/ 6358 h 10000"/>
              <a:gd name="connsiteX4" fmla="*/ 10517 w 10517"/>
              <a:gd name="connsiteY4" fmla="*/ 4457 h 10000"/>
              <a:gd name="connsiteX5" fmla="*/ 8913 w 10517"/>
              <a:gd name="connsiteY5" fmla="*/ 5607 h 10000"/>
              <a:gd name="connsiteX6" fmla="*/ 8504 w 10517"/>
              <a:gd name="connsiteY6" fmla="*/ 4904 h 10000"/>
              <a:gd name="connsiteX7" fmla="*/ 8070 w 10517"/>
              <a:gd name="connsiteY7" fmla="*/ 4218 h 10000"/>
              <a:gd name="connsiteX8" fmla="*/ 7578 w 10517"/>
              <a:gd name="connsiteY8" fmla="*/ 3579 h 10000"/>
              <a:gd name="connsiteX9" fmla="*/ 7051 w 10517"/>
              <a:gd name="connsiteY9" fmla="*/ 2987 h 10000"/>
              <a:gd name="connsiteX10" fmla="*/ 6501 w 10517"/>
              <a:gd name="connsiteY10" fmla="*/ 2444 h 10000"/>
              <a:gd name="connsiteX11" fmla="*/ 5903 w 10517"/>
              <a:gd name="connsiteY11" fmla="*/ 1949 h 10000"/>
              <a:gd name="connsiteX12" fmla="*/ 5295 w 10517"/>
              <a:gd name="connsiteY12" fmla="*/ 1501 h 10000"/>
              <a:gd name="connsiteX13" fmla="*/ 4662 w 10517"/>
              <a:gd name="connsiteY13" fmla="*/ 1102 h 10000"/>
              <a:gd name="connsiteX14" fmla="*/ 4006 w 10517"/>
              <a:gd name="connsiteY14" fmla="*/ 782 h 10000"/>
              <a:gd name="connsiteX15" fmla="*/ 3327 w 10517"/>
              <a:gd name="connsiteY15" fmla="*/ 495 h 10000"/>
              <a:gd name="connsiteX16" fmla="*/ 2649 w 10517"/>
              <a:gd name="connsiteY16" fmla="*/ 271 h 10000"/>
              <a:gd name="connsiteX17" fmla="*/ 1946 w 10517"/>
              <a:gd name="connsiteY17" fmla="*/ 112 h 10000"/>
              <a:gd name="connsiteX18" fmla="*/ 1231 w 10517"/>
              <a:gd name="connsiteY18" fmla="*/ 16 h 10000"/>
              <a:gd name="connsiteX19" fmla="*/ 0 w 10517"/>
              <a:gd name="connsiteY19" fmla="*/ 0 h 10000"/>
              <a:gd name="connsiteX20" fmla="*/ 1031 w 10517"/>
              <a:gd name="connsiteY20" fmla="*/ 3223 h 10000"/>
              <a:gd name="connsiteX21" fmla="*/ 54 w 10517"/>
              <a:gd name="connsiteY21" fmla="*/ 6466 h 10000"/>
              <a:gd name="connsiteX22" fmla="*/ 3895 w 10517"/>
              <a:gd name="connsiteY22" fmla="*/ 9176 h 10000"/>
              <a:gd name="connsiteX23" fmla="*/ 2742 w 10517"/>
              <a:gd name="connsiteY23" fmla="*/ 9984 h 10000"/>
              <a:gd name="connsiteX0" fmla="*/ 2742 w 10517"/>
              <a:gd name="connsiteY0" fmla="*/ 9984 h 10000"/>
              <a:gd name="connsiteX1" fmla="*/ 8093 w 10517"/>
              <a:gd name="connsiteY1" fmla="*/ 10000 h 10000"/>
              <a:gd name="connsiteX2" fmla="*/ 8948 w 10517"/>
              <a:gd name="connsiteY2" fmla="*/ 8179 h 10000"/>
              <a:gd name="connsiteX3" fmla="*/ 9744 w 10517"/>
              <a:gd name="connsiteY3" fmla="*/ 6358 h 10000"/>
              <a:gd name="connsiteX4" fmla="*/ 10517 w 10517"/>
              <a:gd name="connsiteY4" fmla="*/ 4457 h 10000"/>
              <a:gd name="connsiteX5" fmla="*/ 8913 w 10517"/>
              <a:gd name="connsiteY5" fmla="*/ 5607 h 10000"/>
              <a:gd name="connsiteX6" fmla="*/ 8504 w 10517"/>
              <a:gd name="connsiteY6" fmla="*/ 4904 h 10000"/>
              <a:gd name="connsiteX7" fmla="*/ 8070 w 10517"/>
              <a:gd name="connsiteY7" fmla="*/ 4218 h 10000"/>
              <a:gd name="connsiteX8" fmla="*/ 7578 w 10517"/>
              <a:gd name="connsiteY8" fmla="*/ 3579 h 10000"/>
              <a:gd name="connsiteX9" fmla="*/ 7051 w 10517"/>
              <a:gd name="connsiteY9" fmla="*/ 2987 h 10000"/>
              <a:gd name="connsiteX10" fmla="*/ 6501 w 10517"/>
              <a:gd name="connsiteY10" fmla="*/ 2444 h 10000"/>
              <a:gd name="connsiteX11" fmla="*/ 5903 w 10517"/>
              <a:gd name="connsiteY11" fmla="*/ 1949 h 10000"/>
              <a:gd name="connsiteX12" fmla="*/ 5295 w 10517"/>
              <a:gd name="connsiteY12" fmla="*/ 1501 h 10000"/>
              <a:gd name="connsiteX13" fmla="*/ 4662 w 10517"/>
              <a:gd name="connsiteY13" fmla="*/ 1102 h 10000"/>
              <a:gd name="connsiteX14" fmla="*/ 4006 w 10517"/>
              <a:gd name="connsiteY14" fmla="*/ 782 h 10000"/>
              <a:gd name="connsiteX15" fmla="*/ 3327 w 10517"/>
              <a:gd name="connsiteY15" fmla="*/ 495 h 10000"/>
              <a:gd name="connsiteX16" fmla="*/ 2649 w 10517"/>
              <a:gd name="connsiteY16" fmla="*/ 271 h 10000"/>
              <a:gd name="connsiteX17" fmla="*/ 1946 w 10517"/>
              <a:gd name="connsiteY17" fmla="*/ 112 h 10000"/>
              <a:gd name="connsiteX18" fmla="*/ 1231 w 10517"/>
              <a:gd name="connsiteY18" fmla="*/ 16 h 10000"/>
              <a:gd name="connsiteX19" fmla="*/ 0 w 10517"/>
              <a:gd name="connsiteY19" fmla="*/ 0 h 10000"/>
              <a:gd name="connsiteX20" fmla="*/ 54 w 10517"/>
              <a:gd name="connsiteY20" fmla="*/ 6466 h 10000"/>
              <a:gd name="connsiteX21" fmla="*/ 3895 w 10517"/>
              <a:gd name="connsiteY21" fmla="*/ 9176 h 10000"/>
              <a:gd name="connsiteX22" fmla="*/ 2742 w 10517"/>
              <a:gd name="connsiteY22" fmla="*/ 998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517" h="10000">
                <a:moveTo>
                  <a:pt x="2742" y="9984"/>
                </a:moveTo>
                <a:lnTo>
                  <a:pt x="8093" y="10000"/>
                </a:lnTo>
                <a:lnTo>
                  <a:pt x="8948" y="8179"/>
                </a:lnTo>
                <a:lnTo>
                  <a:pt x="9744" y="6358"/>
                </a:lnTo>
                <a:lnTo>
                  <a:pt x="10517" y="4457"/>
                </a:lnTo>
                <a:lnTo>
                  <a:pt x="8913" y="5607"/>
                </a:lnTo>
                <a:lnTo>
                  <a:pt x="8504" y="4904"/>
                </a:lnTo>
                <a:lnTo>
                  <a:pt x="8070" y="4218"/>
                </a:lnTo>
                <a:lnTo>
                  <a:pt x="7578" y="3579"/>
                </a:lnTo>
                <a:lnTo>
                  <a:pt x="7051" y="2987"/>
                </a:lnTo>
                <a:lnTo>
                  <a:pt x="6501" y="2444"/>
                </a:lnTo>
                <a:lnTo>
                  <a:pt x="5903" y="1949"/>
                </a:lnTo>
                <a:lnTo>
                  <a:pt x="5295" y="1501"/>
                </a:lnTo>
                <a:lnTo>
                  <a:pt x="4662" y="1102"/>
                </a:lnTo>
                <a:lnTo>
                  <a:pt x="4006" y="782"/>
                </a:lnTo>
                <a:lnTo>
                  <a:pt x="3327" y="495"/>
                </a:lnTo>
                <a:lnTo>
                  <a:pt x="2649" y="271"/>
                </a:lnTo>
                <a:lnTo>
                  <a:pt x="1946" y="112"/>
                </a:lnTo>
                <a:lnTo>
                  <a:pt x="1231" y="16"/>
                </a:lnTo>
                <a:lnTo>
                  <a:pt x="0" y="0"/>
                </a:lnTo>
                <a:cubicBezTo>
                  <a:pt x="18" y="2155"/>
                  <a:pt x="36" y="4311"/>
                  <a:pt x="54" y="6466"/>
                </a:cubicBezTo>
                <a:cubicBezTo>
                  <a:pt x="2834" y="6768"/>
                  <a:pt x="3492" y="8426"/>
                  <a:pt x="3895" y="9176"/>
                </a:cubicBezTo>
                <a:lnTo>
                  <a:pt x="2742" y="9984"/>
                </a:lnTo>
              </a:path>
            </a:pathLst>
          </a:custGeom>
          <a:solidFill>
            <a:schemeClr val="accent3">
              <a:lumMod val="75000"/>
            </a:schemeClr>
          </a:solidFill>
          <a:ln w="9525">
            <a:noFill/>
            <a:round/>
            <a:headEnd/>
            <a:tailEnd/>
          </a:ln>
        </p:spPr>
        <p:txBody>
          <a:bodyPr lIns="0" tIns="0" rIns="0" bIns="0"/>
          <a:lstStyle/>
          <a:p>
            <a:endParaRPr lang="da-DK" sz="1050">
              <a:latin typeface="Calibri" panose="020F0502020204030204" pitchFamily="34" charset="0"/>
            </a:endParaRPr>
          </a:p>
        </p:txBody>
      </p:sp>
      <p:sp>
        <p:nvSpPr>
          <p:cNvPr id="35" name="Freeform 30"/>
          <p:cNvSpPr>
            <a:spLocks/>
          </p:cNvSpPr>
          <p:nvPr/>
        </p:nvSpPr>
        <p:spPr bwMode="auto">
          <a:xfrm rot="10800000">
            <a:off x="6601947" y="3376624"/>
            <a:ext cx="690292" cy="447525"/>
          </a:xfrm>
          <a:custGeom>
            <a:avLst/>
            <a:gdLst>
              <a:gd name="T0" fmla="*/ 5302480 w 855"/>
              <a:gd name="T1" fmla="*/ 2147483647 h 627"/>
              <a:gd name="T2" fmla="*/ 18068655 w 855"/>
              <a:gd name="T3" fmla="*/ 2147483647 h 627"/>
              <a:gd name="T4" fmla="*/ 20120468 w 855"/>
              <a:gd name="T5" fmla="*/ 2147483647 h 627"/>
              <a:gd name="T6" fmla="*/ 21997386 w 855"/>
              <a:gd name="T7" fmla="*/ 2147483647 h 627"/>
              <a:gd name="T8" fmla="*/ 23856788 w 855"/>
              <a:gd name="T9" fmla="*/ 2147483647 h 627"/>
              <a:gd name="T10" fmla="*/ 19986604 w 855"/>
              <a:gd name="T11" fmla="*/ 2147483647 h 627"/>
              <a:gd name="T12" fmla="*/ 19052815 w 855"/>
              <a:gd name="T13" fmla="*/ 2147483647 h 627"/>
              <a:gd name="T14" fmla="*/ 18011923 w 855"/>
              <a:gd name="T15" fmla="*/ 2147483647 h 627"/>
              <a:gd name="T16" fmla="*/ 16821314 w 855"/>
              <a:gd name="T17" fmla="*/ 2147483647 h 627"/>
              <a:gd name="T18" fmla="*/ 15572719 w 855"/>
              <a:gd name="T19" fmla="*/ 2147483647 h 627"/>
              <a:gd name="T20" fmla="*/ 14276284 w 855"/>
              <a:gd name="T21" fmla="*/ 2147483647 h 627"/>
              <a:gd name="T22" fmla="*/ 12844820 w 855"/>
              <a:gd name="T23" fmla="*/ 2147483647 h 627"/>
              <a:gd name="T24" fmla="*/ 11393088 w 855"/>
              <a:gd name="T25" fmla="*/ 2147483647 h 627"/>
              <a:gd name="T26" fmla="*/ 9888534 w 855"/>
              <a:gd name="T27" fmla="*/ 2147483647 h 627"/>
              <a:gd name="T28" fmla="*/ 8297297 w 855"/>
              <a:gd name="T29" fmla="*/ 2147483647 h 627"/>
              <a:gd name="T30" fmla="*/ 6695248 w 855"/>
              <a:gd name="T31" fmla="*/ 2147483647 h 627"/>
              <a:gd name="T32" fmla="*/ 5104431 w 855"/>
              <a:gd name="T33" fmla="*/ 2147483647 h 627"/>
              <a:gd name="T34" fmla="*/ 3431821 w 855"/>
              <a:gd name="T35" fmla="*/ 1594791371 h 627"/>
              <a:gd name="T36" fmla="*/ 1677210 w 855"/>
              <a:gd name="T37" fmla="*/ 1 h 627"/>
              <a:gd name="T38" fmla="*/ 0 w 855"/>
              <a:gd name="T39" fmla="*/ 0 h 627"/>
              <a:gd name="T40" fmla="*/ 4555625 w 855"/>
              <a:gd name="T41" fmla="*/ 2147483647 h 627"/>
              <a:gd name="T42" fmla="*/ 1700142 w 855"/>
              <a:gd name="T43" fmla="*/ 2147483647 h 627"/>
              <a:gd name="T44" fmla="*/ 2890350 w 855"/>
              <a:gd name="T45" fmla="*/ 2147483647 h 627"/>
              <a:gd name="T46" fmla="*/ 3980498 w 855"/>
              <a:gd name="T47" fmla="*/ 2147483647 h 627"/>
              <a:gd name="T48" fmla="*/ 5104431 w 855"/>
              <a:gd name="T49" fmla="*/ 2147483647 h 627"/>
              <a:gd name="T50" fmla="*/ 6077373 w 855"/>
              <a:gd name="T51" fmla="*/ 2147483647 h 627"/>
              <a:gd name="T52" fmla="*/ 7053067 w 855"/>
              <a:gd name="T53" fmla="*/ 2147483647 h 627"/>
              <a:gd name="T54" fmla="*/ 7933782 w 855"/>
              <a:gd name="T55" fmla="*/ 2147483647 h 627"/>
              <a:gd name="T56" fmla="*/ 8802287 w 855"/>
              <a:gd name="T57" fmla="*/ 2147483647 h 627"/>
              <a:gd name="T58" fmla="*/ 9578845 w 855"/>
              <a:gd name="T59" fmla="*/ 2147483647 h 627"/>
              <a:gd name="T60" fmla="*/ 5302480 w 855"/>
              <a:gd name="T61" fmla="*/ 2147483647 h 62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55"/>
              <a:gd name="T94" fmla="*/ 0 h 627"/>
              <a:gd name="T95" fmla="*/ 855 w 855"/>
              <a:gd name="T96" fmla="*/ 627 h 627"/>
              <a:gd name="connsiteX0" fmla="*/ 2222 w 9988"/>
              <a:gd name="connsiteY0" fmla="*/ 9968 h 9984"/>
              <a:gd name="connsiteX1" fmla="*/ 7567 w 9988"/>
              <a:gd name="connsiteY1" fmla="*/ 9984 h 9984"/>
              <a:gd name="connsiteX2" fmla="*/ 8421 w 9988"/>
              <a:gd name="connsiteY2" fmla="*/ 8166 h 9984"/>
              <a:gd name="connsiteX3" fmla="*/ 9216 w 9988"/>
              <a:gd name="connsiteY3" fmla="*/ 6348 h 9984"/>
              <a:gd name="connsiteX4" fmla="*/ 9988 w 9988"/>
              <a:gd name="connsiteY4" fmla="*/ 4450 h 9984"/>
              <a:gd name="connsiteX5" fmla="*/ 8386 w 9988"/>
              <a:gd name="connsiteY5" fmla="*/ 5598 h 9984"/>
              <a:gd name="connsiteX6" fmla="*/ 7977 w 9988"/>
              <a:gd name="connsiteY6" fmla="*/ 4896 h 9984"/>
              <a:gd name="connsiteX7" fmla="*/ 7544 w 9988"/>
              <a:gd name="connsiteY7" fmla="*/ 4211 h 9984"/>
              <a:gd name="connsiteX8" fmla="*/ 7053 w 9988"/>
              <a:gd name="connsiteY8" fmla="*/ 3573 h 9984"/>
              <a:gd name="connsiteX9" fmla="*/ 6526 w 9988"/>
              <a:gd name="connsiteY9" fmla="*/ 2982 h 9984"/>
              <a:gd name="connsiteX10" fmla="*/ 5977 w 9988"/>
              <a:gd name="connsiteY10" fmla="*/ 2440 h 9984"/>
              <a:gd name="connsiteX11" fmla="*/ 5380 w 9988"/>
              <a:gd name="connsiteY11" fmla="*/ 1946 h 9984"/>
              <a:gd name="connsiteX12" fmla="*/ 4772 w 9988"/>
              <a:gd name="connsiteY12" fmla="*/ 1499 h 9984"/>
              <a:gd name="connsiteX13" fmla="*/ 4140 w 9988"/>
              <a:gd name="connsiteY13" fmla="*/ 1100 h 9984"/>
              <a:gd name="connsiteX14" fmla="*/ 3485 w 9988"/>
              <a:gd name="connsiteY14" fmla="*/ 781 h 9984"/>
              <a:gd name="connsiteX15" fmla="*/ 2807 w 9988"/>
              <a:gd name="connsiteY15" fmla="*/ 494 h 9984"/>
              <a:gd name="connsiteX16" fmla="*/ 2129 w 9988"/>
              <a:gd name="connsiteY16" fmla="*/ 271 h 9984"/>
              <a:gd name="connsiteX17" fmla="*/ 1427 w 9988"/>
              <a:gd name="connsiteY17" fmla="*/ 112 h 9984"/>
              <a:gd name="connsiteX18" fmla="*/ 713 w 9988"/>
              <a:gd name="connsiteY18" fmla="*/ 16 h 9984"/>
              <a:gd name="connsiteX19" fmla="*/ 0 w 9988"/>
              <a:gd name="connsiteY19" fmla="*/ 0 h 9984"/>
              <a:gd name="connsiteX20" fmla="*/ 1895 w 9988"/>
              <a:gd name="connsiteY20" fmla="*/ 2887 h 9984"/>
              <a:gd name="connsiteX21" fmla="*/ 95 w 9988"/>
              <a:gd name="connsiteY21" fmla="*/ 6541 h 9984"/>
              <a:gd name="connsiteX22" fmla="*/ 1205 w 9988"/>
              <a:gd name="connsiteY22" fmla="*/ 6364 h 9984"/>
              <a:gd name="connsiteX23" fmla="*/ 1673 w 9988"/>
              <a:gd name="connsiteY23" fmla="*/ 6555 h 9984"/>
              <a:gd name="connsiteX24" fmla="*/ 2129 w 9988"/>
              <a:gd name="connsiteY24" fmla="*/ 6794 h 9984"/>
              <a:gd name="connsiteX25" fmla="*/ 2550 w 9988"/>
              <a:gd name="connsiteY25" fmla="*/ 7081 h 9984"/>
              <a:gd name="connsiteX26" fmla="*/ 2959 w 9988"/>
              <a:gd name="connsiteY26" fmla="*/ 7432 h 9984"/>
              <a:gd name="connsiteX27" fmla="*/ 3333 w 9988"/>
              <a:gd name="connsiteY27" fmla="*/ 7815 h 9984"/>
              <a:gd name="connsiteX28" fmla="*/ 3684 w 9988"/>
              <a:gd name="connsiteY28" fmla="*/ 8230 h 9984"/>
              <a:gd name="connsiteX29" fmla="*/ 4012 w 9988"/>
              <a:gd name="connsiteY29" fmla="*/ 8692 h 9984"/>
              <a:gd name="connsiteX30" fmla="*/ 2222 w 9988"/>
              <a:gd name="connsiteY30" fmla="*/ 9968 h 9984"/>
              <a:gd name="connsiteX0" fmla="*/ 2225 w 10000"/>
              <a:gd name="connsiteY0" fmla="*/ 9984 h 10000"/>
              <a:gd name="connsiteX1" fmla="*/ 7576 w 10000"/>
              <a:gd name="connsiteY1" fmla="*/ 10000 h 10000"/>
              <a:gd name="connsiteX2" fmla="*/ 8431 w 10000"/>
              <a:gd name="connsiteY2" fmla="*/ 8179 h 10000"/>
              <a:gd name="connsiteX3" fmla="*/ 9227 w 10000"/>
              <a:gd name="connsiteY3" fmla="*/ 6358 h 10000"/>
              <a:gd name="connsiteX4" fmla="*/ 10000 w 10000"/>
              <a:gd name="connsiteY4" fmla="*/ 4457 h 10000"/>
              <a:gd name="connsiteX5" fmla="*/ 8396 w 10000"/>
              <a:gd name="connsiteY5" fmla="*/ 5607 h 10000"/>
              <a:gd name="connsiteX6" fmla="*/ 7987 w 10000"/>
              <a:gd name="connsiteY6" fmla="*/ 4904 h 10000"/>
              <a:gd name="connsiteX7" fmla="*/ 7553 w 10000"/>
              <a:gd name="connsiteY7" fmla="*/ 4218 h 10000"/>
              <a:gd name="connsiteX8" fmla="*/ 7061 w 10000"/>
              <a:gd name="connsiteY8" fmla="*/ 3579 h 10000"/>
              <a:gd name="connsiteX9" fmla="*/ 6534 w 10000"/>
              <a:gd name="connsiteY9" fmla="*/ 2987 h 10000"/>
              <a:gd name="connsiteX10" fmla="*/ 5984 w 10000"/>
              <a:gd name="connsiteY10" fmla="*/ 2444 h 10000"/>
              <a:gd name="connsiteX11" fmla="*/ 5386 w 10000"/>
              <a:gd name="connsiteY11" fmla="*/ 1949 h 10000"/>
              <a:gd name="connsiteX12" fmla="*/ 4778 w 10000"/>
              <a:gd name="connsiteY12" fmla="*/ 1501 h 10000"/>
              <a:gd name="connsiteX13" fmla="*/ 4145 w 10000"/>
              <a:gd name="connsiteY13" fmla="*/ 1102 h 10000"/>
              <a:gd name="connsiteX14" fmla="*/ 3489 w 10000"/>
              <a:gd name="connsiteY14" fmla="*/ 782 h 10000"/>
              <a:gd name="connsiteX15" fmla="*/ 2810 w 10000"/>
              <a:gd name="connsiteY15" fmla="*/ 495 h 10000"/>
              <a:gd name="connsiteX16" fmla="*/ 2132 w 10000"/>
              <a:gd name="connsiteY16" fmla="*/ 271 h 10000"/>
              <a:gd name="connsiteX17" fmla="*/ 1429 w 10000"/>
              <a:gd name="connsiteY17" fmla="*/ 112 h 10000"/>
              <a:gd name="connsiteX18" fmla="*/ 714 w 10000"/>
              <a:gd name="connsiteY18" fmla="*/ 16 h 10000"/>
              <a:gd name="connsiteX19" fmla="*/ 0 w 10000"/>
              <a:gd name="connsiteY19" fmla="*/ 0 h 10000"/>
              <a:gd name="connsiteX20" fmla="*/ 987 w 10000"/>
              <a:gd name="connsiteY20" fmla="*/ 3182 h 10000"/>
              <a:gd name="connsiteX21" fmla="*/ 95 w 10000"/>
              <a:gd name="connsiteY21" fmla="*/ 6551 h 10000"/>
              <a:gd name="connsiteX22" fmla="*/ 1206 w 10000"/>
              <a:gd name="connsiteY22" fmla="*/ 6374 h 10000"/>
              <a:gd name="connsiteX23" fmla="*/ 1675 w 10000"/>
              <a:gd name="connsiteY23" fmla="*/ 6566 h 10000"/>
              <a:gd name="connsiteX24" fmla="*/ 2132 w 10000"/>
              <a:gd name="connsiteY24" fmla="*/ 6805 h 10000"/>
              <a:gd name="connsiteX25" fmla="*/ 2553 w 10000"/>
              <a:gd name="connsiteY25" fmla="*/ 7092 h 10000"/>
              <a:gd name="connsiteX26" fmla="*/ 2963 w 10000"/>
              <a:gd name="connsiteY26" fmla="*/ 7444 h 10000"/>
              <a:gd name="connsiteX27" fmla="*/ 3337 w 10000"/>
              <a:gd name="connsiteY27" fmla="*/ 7828 h 10000"/>
              <a:gd name="connsiteX28" fmla="*/ 3688 w 10000"/>
              <a:gd name="connsiteY28" fmla="*/ 8243 h 10000"/>
              <a:gd name="connsiteX29" fmla="*/ 4017 w 10000"/>
              <a:gd name="connsiteY29" fmla="*/ 8706 h 10000"/>
              <a:gd name="connsiteX30" fmla="*/ 2225 w 10000"/>
              <a:gd name="connsiteY30" fmla="*/ 9984 h 10000"/>
              <a:gd name="connsiteX0" fmla="*/ 2540 w 10315"/>
              <a:gd name="connsiteY0" fmla="*/ 9984 h 10000"/>
              <a:gd name="connsiteX1" fmla="*/ 7891 w 10315"/>
              <a:gd name="connsiteY1" fmla="*/ 10000 h 10000"/>
              <a:gd name="connsiteX2" fmla="*/ 8746 w 10315"/>
              <a:gd name="connsiteY2" fmla="*/ 8179 h 10000"/>
              <a:gd name="connsiteX3" fmla="*/ 9542 w 10315"/>
              <a:gd name="connsiteY3" fmla="*/ 6358 h 10000"/>
              <a:gd name="connsiteX4" fmla="*/ 10315 w 10315"/>
              <a:gd name="connsiteY4" fmla="*/ 4457 h 10000"/>
              <a:gd name="connsiteX5" fmla="*/ 8711 w 10315"/>
              <a:gd name="connsiteY5" fmla="*/ 5607 h 10000"/>
              <a:gd name="connsiteX6" fmla="*/ 8302 w 10315"/>
              <a:gd name="connsiteY6" fmla="*/ 4904 h 10000"/>
              <a:gd name="connsiteX7" fmla="*/ 7868 w 10315"/>
              <a:gd name="connsiteY7" fmla="*/ 4218 h 10000"/>
              <a:gd name="connsiteX8" fmla="*/ 7376 w 10315"/>
              <a:gd name="connsiteY8" fmla="*/ 3579 h 10000"/>
              <a:gd name="connsiteX9" fmla="*/ 6849 w 10315"/>
              <a:gd name="connsiteY9" fmla="*/ 2987 h 10000"/>
              <a:gd name="connsiteX10" fmla="*/ 6299 w 10315"/>
              <a:gd name="connsiteY10" fmla="*/ 2444 h 10000"/>
              <a:gd name="connsiteX11" fmla="*/ 5701 w 10315"/>
              <a:gd name="connsiteY11" fmla="*/ 1949 h 10000"/>
              <a:gd name="connsiteX12" fmla="*/ 5093 w 10315"/>
              <a:gd name="connsiteY12" fmla="*/ 1501 h 10000"/>
              <a:gd name="connsiteX13" fmla="*/ 4460 w 10315"/>
              <a:gd name="connsiteY13" fmla="*/ 1102 h 10000"/>
              <a:gd name="connsiteX14" fmla="*/ 3804 w 10315"/>
              <a:gd name="connsiteY14" fmla="*/ 782 h 10000"/>
              <a:gd name="connsiteX15" fmla="*/ 3125 w 10315"/>
              <a:gd name="connsiteY15" fmla="*/ 495 h 10000"/>
              <a:gd name="connsiteX16" fmla="*/ 2447 w 10315"/>
              <a:gd name="connsiteY16" fmla="*/ 271 h 10000"/>
              <a:gd name="connsiteX17" fmla="*/ 1744 w 10315"/>
              <a:gd name="connsiteY17" fmla="*/ 112 h 10000"/>
              <a:gd name="connsiteX18" fmla="*/ 1029 w 10315"/>
              <a:gd name="connsiteY18" fmla="*/ 16 h 10000"/>
              <a:gd name="connsiteX19" fmla="*/ 0 w 10315"/>
              <a:gd name="connsiteY19" fmla="*/ 0 h 10000"/>
              <a:gd name="connsiteX20" fmla="*/ 1302 w 10315"/>
              <a:gd name="connsiteY20" fmla="*/ 3182 h 10000"/>
              <a:gd name="connsiteX21" fmla="*/ 410 w 10315"/>
              <a:gd name="connsiteY21" fmla="*/ 6551 h 10000"/>
              <a:gd name="connsiteX22" fmla="*/ 1521 w 10315"/>
              <a:gd name="connsiteY22" fmla="*/ 6374 h 10000"/>
              <a:gd name="connsiteX23" fmla="*/ 1990 w 10315"/>
              <a:gd name="connsiteY23" fmla="*/ 6566 h 10000"/>
              <a:gd name="connsiteX24" fmla="*/ 2447 w 10315"/>
              <a:gd name="connsiteY24" fmla="*/ 6805 h 10000"/>
              <a:gd name="connsiteX25" fmla="*/ 2868 w 10315"/>
              <a:gd name="connsiteY25" fmla="*/ 7092 h 10000"/>
              <a:gd name="connsiteX26" fmla="*/ 3278 w 10315"/>
              <a:gd name="connsiteY26" fmla="*/ 7444 h 10000"/>
              <a:gd name="connsiteX27" fmla="*/ 3652 w 10315"/>
              <a:gd name="connsiteY27" fmla="*/ 7828 h 10000"/>
              <a:gd name="connsiteX28" fmla="*/ 4003 w 10315"/>
              <a:gd name="connsiteY28" fmla="*/ 8243 h 10000"/>
              <a:gd name="connsiteX29" fmla="*/ 4332 w 10315"/>
              <a:gd name="connsiteY29" fmla="*/ 8706 h 10000"/>
              <a:gd name="connsiteX30" fmla="*/ 2540 w 10315"/>
              <a:gd name="connsiteY30"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1601 w 10395"/>
              <a:gd name="connsiteY22" fmla="*/ 6374 h 10000"/>
              <a:gd name="connsiteX23" fmla="*/ 2070 w 10395"/>
              <a:gd name="connsiteY23" fmla="*/ 6566 h 10000"/>
              <a:gd name="connsiteX24" fmla="*/ 2527 w 10395"/>
              <a:gd name="connsiteY24" fmla="*/ 6805 h 10000"/>
              <a:gd name="connsiteX25" fmla="*/ 2948 w 10395"/>
              <a:gd name="connsiteY25" fmla="*/ 7092 h 10000"/>
              <a:gd name="connsiteX26" fmla="*/ 3358 w 10395"/>
              <a:gd name="connsiteY26" fmla="*/ 7444 h 10000"/>
              <a:gd name="connsiteX27" fmla="*/ 3732 w 10395"/>
              <a:gd name="connsiteY27" fmla="*/ 7828 h 10000"/>
              <a:gd name="connsiteX28" fmla="*/ 4083 w 10395"/>
              <a:gd name="connsiteY28" fmla="*/ 8243 h 10000"/>
              <a:gd name="connsiteX29" fmla="*/ 4412 w 10395"/>
              <a:gd name="connsiteY29" fmla="*/ 8706 h 10000"/>
              <a:gd name="connsiteX30" fmla="*/ 2620 w 10395"/>
              <a:gd name="connsiteY30"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1601 w 10395"/>
              <a:gd name="connsiteY22" fmla="*/ 6772 h 10000"/>
              <a:gd name="connsiteX23" fmla="*/ 2070 w 10395"/>
              <a:gd name="connsiteY23" fmla="*/ 6566 h 10000"/>
              <a:gd name="connsiteX24" fmla="*/ 2527 w 10395"/>
              <a:gd name="connsiteY24" fmla="*/ 6805 h 10000"/>
              <a:gd name="connsiteX25" fmla="*/ 2948 w 10395"/>
              <a:gd name="connsiteY25" fmla="*/ 7092 h 10000"/>
              <a:gd name="connsiteX26" fmla="*/ 3358 w 10395"/>
              <a:gd name="connsiteY26" fmla="*/ 7444 h 10000"/>
              <a:gd name="connsiteX27" fmla="*/ 3732 w 10395"/>
              <a:gd name="connsiteY27" fmla="*/ 7828 h 10000"/>
              <a:gd name="connsiteX28" fmla="*/ 4083 w 10395"/>
              <a:gd name="connsiteY28" fmla="*/ 8243 h 10000"/>
              <a:gd name="connsiteX29" fmla="*/ 4412 w 10395"/>
              <a:gd name="connsiteY29" fmla="*/ 8706 h 10000"/>
              <a:gd name="connsiteX30" fmla="*/ 2620 w 10395"/>
              <a:gd name="connsiteY30"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1601 w 10395"/>
              <a:gd name="connsiteY22" fmla="*/ 6772 h 10000"/>
              <a:gd name="connsiteX23" fmla="*/ 2070 w 10395"/>
              <a:gd name="connsiteY23" fmla="*/ 7145 h 10000"/>
              <a:gd name="connsiteX24" fmla="*/ 2527 w 10395"/>
              <a:gd name="connsiteY24" fmla="*/ 6805 h 10000"/>
              <a:gd name="connsiteX25" fmla="*/ 2948 w 10395"/>
              <a:gd name="connsiteY25" fmla="*/ 7092 h 10000"/>
              <a:gd name="connsiteX26" fmla="*/ 3358 w 10395"/>
              <a:gd name="connsiteY26" fmla="*/ 7444 h 10000"/>
              <a:gd name="connsiteX27" fmla="*/ 3732 w 10395"/>
              <a:gd name="connsiteY27" fmla="*/ 7828 h 10000"/>
              <a:gd name="connsiteX28" fmla="*/ 4083 w 10395"/>
              <a:gd name="connsiteY28" fmla="*/ 8243 h 10000"/>
              <a:gd name="connsiteX29" fmla="*/ 4412 w 10395"/>
              <a:gd name="connsiteY29" fmla="*/ 8706 h 10000"/>
              <a:gd name="connsiteX30" fmla="*/ 2620 w 10395"/>
              <a:gd name="connsiteY30"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1601 w 10395"/>
              <a:gd name="connsiteY22" fmla="*/ 6772 h 10000"/>
              <a:gd name="connsiteX23" fmla="*/ 2070 w 10395"/>
              <a:gd name="connsiteY23" fmla="*/ 7145 h 10000"/>
              <a:gd name="connsiteX24" fmla="*/ 2492 w 10395"/>
              <a:gd name="connsiteY24" fmla="*/ 7384 h 10000"/>
              <a:gd name="connsiteX25" fmla="*/ 2948 w 10395"/>
              <a:gd name="connsiteY25" fmla="*/ 7092 h 10000"/>
              <a:gd name="connsiteX26" fmla="*/ 3358 w 10395"/>
              <a:gd name="connsiteY26" fmla="*/ 7444 h 10000"/>
              <a:gd name="connsiteX27" fmla="*/ 3732 w 10395"/>
              <a:gd name="connsiteY27" fmla="*/ 7828 h 10000"/>
              <a:gd name="connsiteX28" fmla="*/ 4083 w 10395"/>
              <a:gd name="connsiteY28" fmla="*/ 8243 h 10000"/>
              <a:gd name="connsiteX29" fmla="*/ 4412 w 10395"/>
              <a:gd name="connsiteY29" fmla="*/ 8706 h 10000"/>
              <a:gd name="connsiteX30" fmla="*/ 2620 w 10395"/>
              <a:gd name="connsiteY30"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1601 w 10395"/>
              <a:gd name="connsiteY22" fmla="*/ 6772 h 10000"/>
              <a:gd name="connsiteX23" fmla="*/ 2070 w 10395"/>
              <a:gd name="connsiteY23" fmla="*/ 7145 h 10000"/>
              <a:gd name="connsiteX24" fmla="*/ 2492 w 10395"/>
              <a:gd name="connsiteY24" fmla="*/ 7384 h 10000"/>
              <a:gd name="connsiteX25" fmla="*/ 2843 w 10395"/>
              <a:gd name="connsiteY25" fmla="*/ 7743 h 10000"/>
              <a:gd name="connsiteX26" fmla="*/ 3358 w 10395"/>
              <a:gd name="connsiteY26" fmla="*/ 7444 h 10000"/>
              <a:gd name="connsiteX27" fmla="*/ 3732 w 10395"/>
              <a:gd name="connsiteY27" fmla="*/ 7828 h 10000"/>
              <a:gd name="connsiteX28" fmla="*/ 4083 w 10395"/>
              <a:gd name="connsiteY28" fmla="*/ 8243 h 10000"/>
              <a:gd name="connsiteX29" fmla="*/ 4412 w 10395"/>
              <a:gd name="connsiteY29" fmla="*/ 8706 h 10000"/>
              <a:gd name="connsiteX30" fmla="*/ 2620 w 10395"/>
              <a:gd name="connsiteY30"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1601 w 10395"/>
              <a:gd name="connsiteY22" fmla="*/ 6772 h 10000"/>
              <a:gd name="connsiteX23" fmla="*/ 2070 w 10395"/>
              <a:gd name="connsiteY23" fmla="*/ 7145 h 10000"/>
              <a:gd name="connsiteX24" fmla="*/ 2492 w 10395"/>
              <a:gd name="connsiteY24" fmla="*/ 7384 h 10000"/>
              <a:gd name="connsiteX25" fmla="*/ 2843 w 10395"/>
              <a:gd name="connsiteY25" fmla="*/ 7743 h 10000"/>
              <a:gd name="connsiteX26" fmla="*/ 3113 w 10395"/>
              <a:gd name="connsiteY26" fmla="*/ 8132 h 10000"/>
              <a:gd name="connsiteX27" fmla="*/ 3732 w 10395"/>
              <a:gd name="connsiteY27" fmla="*/ 7828 h 10000"/>
              <a:gd name="connsiteX28" fmla="*/ 4083 w 10395"/>
              <a:gd name="connsiteY28" fmla="*/ 8243 h 10000"/>
              <a:gd name="connsiteX29" fmla="*/ 4412 w 10395"/>
              <a:gd name="connsiteY29" fmla="*/ 8706 h 10000"/>
              <a:gd name="connsiteX30" fmla="*/ 2620 w 10395"/>
              <a:gd name="connsiteY30"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1601 w 10395"/>
              <a:gd name="connsiteY22" fmla="*/ 6772 h 10000"/>
              <a:gd name="connsiteX23" fmla="*/ 2070 w 10395"/>
              <a:gd name="connsiteY23" fmla="*/ 7145 h 10000"/>
              <a:gd name="connsiteX24" fmla="*/ 2492 w 10395"/>
              <a:gd name="connsiteY24" fmla="*/ 7384 h 10000"/>
              <a:gd name="connsiteX25" fmla="*/ 2843 w 10395"/>
              <a:gd name="connsiteY25" fmla="*/ 7743 h 10000"/>
              <a:gd name="connsiteX26" fmla="*/ 3113 w 10395"/>
              <a:gd name="connsiteY26" fmla="*/ 8132 h 10000"/>
              <a:gd name="connsiteX27" fmla="*/ 3487 w 10395"/>
              <a:gd name="connsiteY27" fmla="*/ 8552 h 10000"/>
              <a:gd name="connsiteX28" fmla="*/ 4083 w 10395"/>
              <a:gd name="connsiteY28" fmla="*/ 8243 h 10000"/>
              <a:gd name="connsiteX29" fmla="*/ 4412 w 10395"/>
              <a:gd name="connsiteY29" fmla="*/ 8706 h 10000"/>
              <a:gd name="connsiteX30" fmla="*/ 2620 w 10395"/>
              <a:gd name="connsiteY30"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1601 w 10395"/>
              <a:gd name="connsiteY22" fmla="*/ 6772 h 10000"/>
              <a:gd name="connsiteX23" fmla="*/ 2070 w 10395"/>
              <a:gd name="connsiteY23" fmla="*/ 7145 h 10000"/>
              <a:gd name="connsiteX24" fmla="*/ 2492 w 10395"/>
              <a:gd name="connsiteY24" fmla="*/ 7384 h 10000"/>
              <a:gd name="connsiteX25" fmla="*/ 2843 w 10395"/>
              <a:gd name="connsiteY25" fmla="*/ 7743 h 10000"/>
              <a:gd name="connsiteX26" fmla="*/ 3113 w 10395"/>
              <a:gd name="connsiteY26" fmla="*/ 8132 h 10000"/>
              <a:gd name="connsiteX27" fmla="*/ 3487 w 10395"/>
              <a:gd name="connsiteY27" fmla="*/ 8552 h 10000"/>
              <a:gd name="connsiteX28" fmla="*/ 3663 w 10395"/>
              <a:gd name="connsiteY28" fmla="*/ 8931 h 10000"/>
              <a:gd name="connsiteX29" fmla="*/ 4412 w 10395"/>
              <a:gd name="connsiteY29" fmla="*/ 8706 h 10000"/>
              <a:gd name="connsiteX30" fmla="*/ 2620 w 10395"/>
              <a:gd name="connsiteY30"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1601 w 10395"/>
              <a:gd name="connsiteY22" fmla="*/ 6772 h 10000"/>
              <a:gd name="connsiteX23" fmla="*/ 2070 w 10395"/>
              <a:gd name="connsiteY23" fmla="*/ 7145 h 10000"/>
              <a:gd name="connsiteX24" fmla="*/ 2492 w 10395"/>
              <a:gd name="connsiteY24" fmla="*/ 7384 h 10000"/>
              <a:gd name="connsiteX25" fmla="*/ 2843 w 10395"/>
              <a:gd name="connsiteY25" fmla="*/ 7743 h 10000"/>
              <a:gd name="connsiteX26" fmla="*/ 3113 w 10395"/>
              <a:gd name="connsiteY26" fmla="*/ 8132 h 10000"/>
              <a:gd name="connsiteX27" fmla="*/ 3487 w 10395"/>
              <a:gd name="connsiteY27" fmla="*/ 8552 h 10000"/>
              <a:gd name="connsiteX28" fmla="*/ 3663 w 10395"/>
              <a:gd name="connsiteY28" fmla="*/ 8931 h 10000"/>
              <a:gd name="connsiteX29" fmla="*/ 3852 w 10395"/>
              <a:gd name="connsiteY29" fmla="*/ 9176 h 10000"/>
              <a:gd name="connsiteX30" fmla="*/ 2620 w 10395"/>
              <a:gd name="connsiteY30"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2070 w 10395"/>
              <a:gd name="connsiteY22" fmla="*/ 7145 h 10000"/>
              <a:gd name="connsiteX23" fmla="*/ 2492 w 10395"/>
              <a:gd name="connsiteY23" fmla="*/ 7384 h 10000"/>
              <a:gd name="connsiteX24" fmla="*/ 2843 w 10395"/>
              <a:gd name="connsiteY24" fmla="*/ 7743 h 10000"/>
              <a:gd name="connsiteX25" fmla="*/ 3113 w 10395"/>
              <a:gd name="connsiteY25" fmla="*/ 8132 h 10000"/>
              <a:gd name="connsiteX26" fmla="*/ 3487 w 10395"/>
              <a:gd name="connsiteY26" fmla="*/ 8552 h 10000"/>
              <a:gd name="connsiteX27" fmla="*/ 3663 w 10395"/>
              <a:gd name="connsiteY27" fmla="*/ 8931 h 10000"/>
              <a:gd name="connsiteX28" fmla="*/ 3852 w 10395"/>
              <a:gd name="connsiteY28" fmla="*/ 9176 h 10000"/>
              <a:gd name="connsiteX29" fmla="*/ 2620 w 10395"/>
              <a:gd name="connsiteY29"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2492 w 10395"/>
              <a:gd name="connsiteY22" fmla="*/ 7384 h 10000"/>
              <a:gd name="connsiteX23" fmla="*/ 2843 w 10395"/>
              <a:gd name="connsiteY23" fmla="*/ 7743 h 10000"/>
              <a:gd name="connsiteX24" fmla="*/ 3113 w 10395"/>
              <a:gd name="connsiteY24" fmla="*/ 8132 h 10000"/>
              <a:gd name="connsiteX25" fmla="*/ 3487 w 10395"/>
              <a:gd name="connsiteY25" fmla="*/ 8552 h 10000"/>
              <a:gd name="connsiteX26" fmla="*/ 3663 w 10395"/>
              <a:gd name="connsiteY26" fmla="*/ 8931 h 10000"/>
              <a:gd name="connsiteX27" fmla="*/ 3852 w 10395"/>
              <a:gd name="connsiteY27" fmla="*/ 9176 h 10000"/>
              <a:gd name="connsiteX28" fmla="*/ 2620 w 10395"/>
              <a:gd name="connsiteY28"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2843 w 10395"/>
              <a:gd name="connsiteY22" fmla="*/ 7743 h 10000"/>
              <a:gd name="connsiteX23" fmla="*/ 3113 w 10395"/>
              <a:gd name="connsiteY23" fmla="*/ 8132 h 10000"/>
              <a:gd name="connsiteX24" fmla="*/ 3487 w 10395"/>
              <a:gd name="connsiteY24" fmla="*/ 8552 h 10000"/>
              <a:gd name="connsiteX25" fmla="*/ 3663 w 10395"/>
              <a:gd name="connsiteY25" fmla="*/ 8931 h 10000"/>
              <a:gd name="connsiteX26" fmla="*/ 3852 w 10395"/>
              <a:gd name="connsiteY26" fmla="*/ 9176 h 10000"/>
              <a:gd name="connsiteX27" fmla="*/ 2620 w 10395"/>
              <a:gd name="connsiteY27"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2843 w 10395"/>
              <a:gd name="connsiteY22" fmla="*/ 7743 h 10000"/>
              <a:gd name="connsiteX23" fmla="*/ 3113 w 10395"/>
              <a:gd name="connsiteY23" fmla="*/ 8132 h 10000"/>
              <a:gd name="connsiteX24" fmla="*/ 3487 w 10395"/>
              <a:gd name="connsiteY24" fmla="*/ 8552 h 10000"/>
              <a:gd name="connsiteX25" fmla="*/ 3852 w 10395"/>
              <a:gd name="connsiteY25" fmla="*/ 9176 h 10000"/>
              <a:gd name="connsiteX26" fmla="*/ 2620 w 10395"/>
              <a:gd name="connsiteY26"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2843 w 10395"/>
              <a:gd name="connsiteY22" fmla="*/ 7743 h 10000"/>
              <a:gd name="connsiteX23" fmla="*/ 3113 w 10395"/>
              <a:gd name="connsiteY23" fmla="*/ 8132 h 10000"/>
              <a:gd name="connsiteX24" fmla="*/ 3852 w 10395"/>
              <a:gd name="connsiteY24" fmla="*/ 9176 h 10000"/>
              <a:gd name="connsiteX25" fmla="*/ 2620 w 10395"/>
              <a:gd name="connsiteY25"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2843 w 10395"/>
              <a:gd name="connsiteY22" fmla="*/ 7743 h 10000"/>
              <a:gd name="connsiteX23" fmla="*/ 3852 w 10395"/>
              <a:gd name="connsiteY23" fmla="*/ 9176 h 10000"/>
              <a:gd name="connsiteX24" fmla="*/ 2620 w 10395"/>
              <a:gd name="connsiteY24"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852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852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852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852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852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852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852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852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773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773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773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773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773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773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773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1382 w 10395"/>
              <a:gd name="connsiteY20" fmla="*/ 3182 h 10000"/>
              <a:gd name="connsiteX21" fmla="*/ 0 w 10395"/>
              <a:gd name="connsiteY21" fmla="*/ 6479 h 10000"/>
              <a:gd name="connsiteX22" fmla="*/ 3773 w 10395"/>
              <a:gd name="connsiteY22" fmla="*/ 9176 h 10000"/>
              <a:gd name="connsiteX23" fmla="*/ 2620 w 10395"/>
              <a:gd name="connsiteY23" fmla="*/ 9984 h 10000"/>
              <a:gd name="connsiteX0" fmla="*/ 2620 w 10395"/>
              <a:gd name="connsiteY0" fmla="*/ 9984 h 10000"/>
              <a:gd name="connsiteX1" fmla="*/ 7971 w 10395"/>
              <a:gd name="connsiteY1" fmla="*/ 10000 h 10000"/>
              <a:gd name="connsiteX2" fmla="*/ 8826 w 10395"/>
              <a:gd name="connsiteY2" fmla="*/ 8179 h 10000"/>
              <a:gd name="connsiteX3" fmla="*/ 9622 w 10395"/>
              <a:gd name="connsiteY3" fmla="*/ 6358 h 10000"/>
              <a:gd name="connsiteX4" fmla="*/ 10395 w 10395"/>
              <a:gd name="connsiteY4" fmla="*/ 4457 h 10000"/>
              <a:gd name="connsiteX5" fmla="*/ 8791 w 10395"/>
              <a:gd name="connsiteY5" fmla="*/ 5607 h 10000"/>
              <a:gd name="connsiteX6" fmla="*/ 8382 w 10395"/>
              <a:gd name="connsiteY6" fmla="*/ 4904 h 10000"/>
              <a:gd name="connsiteX7" fmla="*/ 7948 w 10395"/>
              <a:gd name="connsiteY7" fmla="*/ 4218 h 10000"/>
              <a:gd name="connsiteX8" fmla="*/ 7456 w 10395"/>
              <a:gd name="connsiteY8" fmla="*/ 3579 h 10000"/>
              <a:gd name="connsiteX9" fmla="*/ 6929 w 10395"/>
              <a:gd name="connsiteY9" fmla="*/ 2987 h 10000"/>
              <a:gd name="connsiteX10" fmla="*/ 6379 w 10395"/>
              <a:gd name="connsiteY10" fmla="*/ 2444 h 10000"/>
              <a:gd name="connsiteX11" fmla="*/ 5781 w 10395"/>
              <a:gd name="connsiteY11" fmla="*/ 1949 h 10000"/>
              <a:gd name="connsiteX12" fmla="*/ 5173 w 10395"/>
              <a:gd name="connsiteY12" fmla="*/ 1501 h 10000"/>
              <a:gd name="connsiteX13" fmla="*/ 4540 w 10395"/>
              <a:gd name="connsiteY13" fmla="*/ 1102 h 10000"/>
              <a:gd name="connsiteX14" fmla="*/ 3884 w 10395"/>
              <a:gd name="connsiteY14" fmla="*/ 782 h 10000"/>
              <a:gd name="connsiteX15" fmla="*/ 3205 w 10395"/>
              <a:gd name="connsiteY15" fmla="*/ 495 h 10000"/>
              <a:gd name="connsiteX16" fmla="*/ 2527 w 10395"/>
              <a:gd name="connsiteY16" fmla="*/ 271 h 10000"/>
              <a:gd name="connsiteX17" fmla="*/ 1824 w 10395"/>
              <a:gd name="connsiteY17" fmla="*/ 112 h 10000"/>
              <a:gd name="connsiteX18" fmla="*/ 1109 w 10395"/>
              <a:gd name="connsiteY18" fmla="*/ 16 h 10000"/>
              <a:gd name="connsiteX19" fmla="*/ 80 w 10395"/>
              <a:gd name="connsiteY19" fmla="*/ 0 h 10000"/>
              <a:gd name="connsiteX20" fmla="*/ 909 w 10395"/>
              <a:gd name="connsiteY20" fmla="*/ 3223 h 10000"/>
              <a:gd name="connsiteX21" fmla="*/ 0 w 10395"/>
              <a:gd name="connsiteY21" fmla="*/ 6479 h 10000"/>
              <a:gd name="connsiteX22" fmla="*/ 3773 w 10395"/>
              <a:gd name="connsiteY22" fmla="*/ 9176 h 10000"/>
              <a:gd name="connsiteX23" fmla="*/ 2620 w 10395"/>
              <a:gd name="connsiteY23" fmla="*/ 9984 h 10000"/>
              <a:gd name="connsiteX0" fmla="*/ 2688 w 10463"/>
              <a:gd name="connsiteY0" fmla="*/ 9984 h 10000"/>
              <a:gd name="connsiteX1" fmla="*/ 8039 w 10463"/>
              <a:gd name="connsiteY1" fmla="*/ 10000 h 10000"/>
              <a:gd name="connsiteX2" fmla="*/ 8894 w 10463"/>
              <a:gd name="connsiteY2" fmla="*/ 8179 h 10000"/>
              <a:gd name="connsiteX3" fmla="*/ 9690 w 10463"/>
              <a:gd name="connsiteY3" fmla="*/ 6358 h 10000"/>
              <a:gd name="connsiteX4" fmla="*/ 10463 w 10463"/>
              <a:gd name="connsiteY4" fmla="*/ 4457 h 10000"/>
              <a:gd name="connsiteX5" fmla="*/ 8859 w 10463"/>
              <a:gd name="connsiteY5" fmla="*/ 5607 h 10000"/>
              <a:gd name="connsiteX6" fmla="*/ 8450 w 10463"/>
              <a:gd name="connsiteY6" fmla="*/ 4904 h 10000"/>
              <a:gd name="connsiteX7" fmla="*/ 8016 w 10463"/>
              <a:gd name="connsiteY7" fmla="*/ 4218 h 10000"/>
              <a:gd name="connsiteX8" fmla="*/ 7524 w 10463"/>
              <a:gd name="connsiteY8" fmla="*/ 3579 h 10000"/>
              <a:gd name="connsiteX9" fmla="*/ 6997 w 10463"/>
              <a:gd name="connsiteY9" fmla="*/ 2987 h 10000"/>
              <a:gd name="connsiteX10" fmla="*/ 6447 w 10463"/>
              <a:gd name="connsiteY10" fmla="*/ 2444 h 10000"/>
              <a:gd name="connsiteX11" fmla="*/ 5849 w 10463"/>
              <a:gd name="connsiteY11" fmla="*/ 1949 h 10000"/>
              <a:gd name="connsiteX12" fmla="*/ 5241 w 10463"/>
              <a:gd name="connsiteY12" fmla="*/ 1501 h 10000"/>
              <a:gd name="connsiteX13" fmla="*/ 4608 w 10463"/>
              <a:gd name="connsiteY13" fmla="*/ 1102 h 10000"/>
              <a:gd name="connsiteX14" fmla="*/ 3952 w 10463"/>
              <a:gd name="connsiteY14" fmla="*/ 782 h 10000"/>
              <a:gd name="connsiteX15" fmla="*/ 3273 w 10463"/>
              <a:gd name="connsiteY15" fmla="*/ 495 h 10000"/>
              <a:gd name="connsiteX16" fmla="*/ 2595 w 10463"/>
              <a:gd name="connsiteY16" fmla="*/ 271 h 10000"/>
              <a:gd name="connsiteX17" fmla="*/ 1892 w 10463"/>
              <a:gd name="connsiteY17" fmla="*/ 112 h 10000"/>
              <a:gd name="connsiteX18" fmla="*/ 1177 w 10463"/>
              <a:gd name="connsiteY18" fmla="*/ 16 h 10000"/>
              <a:gd name="connsiteX19" fmla="*/ 148 w 10463"/>
              <a:gd name="connsiteY19" fmla="*/ 0 h 10000"/>
              <a:gd name="connsiteX20" fmla="*/ 977 w 10463"/>
              <a:gd name="connsiteY20" fmla="*/ 3223 h 10000"/>
              <a:gd name="connsiteX21" fmla="*/ 0 w 10463"/>
              <a:gd name="connsiteY21" fmla="*/ 6520 h 10000"/>
              <a:gd name="connsiteX22" fmla="*/ 3841 w 10463"/>
              <a:gd name="connsiteY22" fmla="*/ 9176 h 10000"/>
              <a:gd name="connsiteX23" fmla="*/ 2688 w 10463"/>
              <a:gd name="connsiteY23" fmla="*/ 9984 h 10000"/>
              <a:gd name="connsiteX0" fmla="*/ 2688 w 10463"/>
              <a:gd name="connsiteY0" fmla="*/ 9984 h 10000"/>
              <a:gd name="connsiteX1" fmla="*/ 8039 w 10463"/>
              <a:gd name="connsiteY1" fmla="*/ 10000 h 10000"/>
              <a:gd name="connsiteX2" fmla="*/ 8894 w 10463"/>
              <a:gd name="connsiteY2" fmla="*/ 8179 h 10000"/>
              <a:gd name="connsiteX3" fmla="*/ 9690 w 10463"/>
              <a:gd name="connsiteY3" fmla="*/ 6358 h 10000"/>
              <a:gd name="connsiteX4" fmla="*/ 10463 w 10463"/>
              <a:gd name="connsiteY4" fmla="*/ 4457 h 10000"/>
              <a:gd name="connsiteX5" fmla="*/ 8859 w 10463"/>
              <a:gd name="connsiteY5" fmla="*/ 5607 h 10000"/>
              <a:gd name="connsiteX6" fmla="*/ 8450 w 10463"/>
              <a:gd name="connsiteY6" fmla="*/ 4904 h 10000"/>
              <a:gd name="connsiteX7" fmla="*/ 8016 w 10463"/>
              <a:gd name="connsiteY7" fmla="*/ 4218 h 10000"/>
              <a:gd name="connsiteX8" fmla="*/ 7524 w 10463"/>
              <a:gd name="connsiteY8" fmla="*/ 3579 h 10000"/>
              <a:gd name="connsiteX9" fmla="*/ 6997 w 10463"/>
              <a:gd name="connsiteY9" fmla="*/ 2987 h 10000"/>
              <a:gd name="connsiteX10" fmla="*/ 6447 w 10463"/>
              <a:gd name="connsiteY10" fmla="*/ 2444 h 10000"/>
              <a:gd name="connsiteX11" fmla="*/ 5849 w 10463"/>
              <a:gd name="connsiteY11" fmla="*/ 1949 h 10000"/>
              <a:gd name="connsiteX12" fmla="*/ 5241 w 10463"/>
              <a:gd name="connsiteY12" fmla="*/ 1501 h 10000"/>
              <a:gd name="connsiteX13" fmla="*/ 4608 w 10463"/>
              <a:gd name="connsiteY13" fmla="*/ 1102 h 10000"/>
              <a:gd name="connsiteX14" fmla="*/ 3952 w 10463"/>
              <a:gd name="connsiteY14" fmla="*/ 782 h 10000"/>
              <a:gd name="connsiteX15" fmla="*/ 3273 w 10463"/>
              <a:gd name="connsiteY15" fmla="*/ 495 h 10000"/>
              <a:gd name="connsiteX16" fmla="*/ 2595 w 10463"/>
              <a:gd name="connsiteY16" fmla="*/ 271 h 10000"/>
              <a:gd name="connsiteX17" fmla="*/ 1892 w 10463"/>
              <a:gd name="connsiteY17" fmla="*/ 112 h 10000"/>
              <a:gd name="connsiteX18" fmla="*/ 1177 w 10463"/>
              <a:gd name="connsiteY18" fmla="*/ 16 h 10000"/>
              <a:gd name="connsiteX19" fmla="*/ 148 w 10463"/>
              <a:gd name="connsiteY19" fmla="*/ 0 h 10000"/>
              <a:gd name="connsiteX20" fmla="*/ 977 w 10463"/>
              <a:gd name="connsiteY20" fmla="*/ 3223 h 10000"/>
              <a:gd name="connsiteX21" fmla="*/ 0 w 10463"/>
              <a:gd name="connsiteY21" fmla="*/ 6466 h 10000"/>
              <a:gd name="connsiteX22" fmla="*/ 3841 w 10463"/>
              <a:gd name="connsiteY22" fmla="*/ 9176 h 10000"/>
              <a:gd name="connsiteX23" fmla="*/ 2688 w 10463"/>
              <a:gd name="connsiteY23" fmla="*/ 9984 h 10000"/>
              <a:gd name="connsiteX0" fmla="*/ 2731 w 10506"/>
              <a:gd name="connsiteY0" fmla="*/ 9984 h 10000"/>
              <a:gd name="connsiteX1" fmla="*/ 8082 w 10506"/>
              <a:gd name="connsiteY1" fmla="*/ 10000 h 10000"/>
              <a:gd name="connsiteX2" fmla="*/ 8937 w 10506"/>
              <a:gd name="connsiteY2" fmla="*/ 8179 h 10000"/>
              <a:gd name="connsiteX3" fmla="*/ 9733 w 10506"/>
              <a:gd name="connsiteY3" fmla="*/ 6358 h 10000"/>
              <a:gd name="connsiteX4" fmla="*/ 10506 w 10506"/>
              <a:gd name="connsiteY4" fmla="*/ 4457 h 10000"/>
              <a:gd name="connsiteX5" fmla="*/ 8902 w 10506"/>
              <a:gd name="connsiteY5" fmla="*/ 5607 h 10000"/>
              <a:gd name="connsiteX6" fmla="*/ 8493 w 10506"/>
              <a:gd name="connsiteY6" fmla="*/ 4904 h 10000"/>
              <a:gd name="connsiteX7" fmla="*/ 8059 w 10506"/>
              <a:gd name="connsiteY7" fmla="*/ 4218 h 10000"/>
              <a:gd name="connsiteX8" fmla="*/ 7567 w 10506"/>
              <a:gd name="connsiteY8" fmla="*/ 3579 h 10000"/>
              <a:gd name="connsiteX9" fmla="*/ 7040 w 10506"/>
              <a:gd name="connsiteY9" fmla="*/ 2987 h 10000"/>
              <a:gd name="connsiteX10" fmla="*/ 6490 w 10506"/>
              <a:gd name="connsiteY10" fmla="*/ 2444 h 10000"/>
              <a:gd name="connsiteX11" fmla="*/ 5892 w 10506"/>
              <a:gd name="connsiteY11" fmla="*/ 1949 h 10000"/>
              <a:gd name="connsiteX12" fmla="*/ 5284 w 10506"/>
              <a:gd name="connsiteY12" fmla="*/ 1501 h 10000"/>
              <a:gd name="connsiteX13" fmla="*/ 4651 w 10506"/>
              <a:gd name="connsiteY13" fmla="*/ 1102 h 10000"/>
              <a:gd name="connsiteX14" fmla="*/ 3995 w 10506"/>
              <a:gd name="connsiteY14" fmla="*/ 782 h 10000"/>
              <a:gd name="connsiteX15" fmla="*/ 3316 w 10506"/>
              <a:gd name="connsiteY15" fmla="*/ 495 h 10000"/>
              <a:gd name="connsiteX16" fmla="*/ 2638 w 10506"/>
              <a:gd name="connsiteY16" fmla="*/ 271 h 10000"/>
              <a:gd name="connsiteX17" fmla="*/ 1935 w 10506"/>
              <a:gd name="connsiteY17" fmla="*/ 112 h 10000"/>
              <a:gd name="connsiteX18" fmla="*/ 1220 w 10506"/>
              <a:gd name="connsiteY18" fmla="*/ 16 h 10000"/>
              <a:gd name="connsiteX19" fmla="*/ 0 w 10506"/>
              <a:gd name="connsiteY19" fmla="*/ 0 h 10000"/>
              <a:gd name="connsiteX20" fmla="*/ 1020 w 10506"/>
              <a:gd name="connsiteY20" fmla="*/ 3223 h 10000"/>
              <a:gd name="connsiteX21" fmla="*/ 43 w 10506"/>
              <a:gd name="connsiteY21" fmla="*/ 6466 h 10000"/>
              <a:gd name="connsiteX22" fmla="*/ 3884 w 10506"/>
              <a:gd name="connsiteY22" fmla="*/ 9176 h 10000"/>
              <a:gd name="connsiteX23" fmla="*/ 2731 w 10506"/>
              <a:gd name="connsiteY23" fmla="*/ 9984 h 10000"/>
              <a:gd name="connsiteX0" fmla="*/ 2742 w 10517"/>
              <a:gd name="connsiteY0" fmla="*/ 9984 h 10000"/>
              <a:gd name="connsiteX1" fmla="*/ 8093 w 10517"/>
              <a:gd name="connsiteY1" fmla="*/ 10000 h 10000"/>
              <a:gd name="connsiteX2" fmla="*/ 8948 w 10517"/>
              <a:gd name="connsiteY2" fmla="*/ 8179 h 10000"/>
              <a:gd name="connsiteX3" fmla="*/ 9744 w 10517"/>
              <a:gd name="connsiteY3" fmla="*/ 6358 h 10000"/>
              <a:gd name="connsiteX4" fmla="*/ 10517 w 10517"/>
              <a:gd name="connsiteY4" fmla="*/ 4457 h 10000"/>
              <a:gd name="connsiteX5" fmla="*/ 8913 w 10517"/>
              <a:gd name="connsiteY5" fmla="*/ 5607 h 10000"/>
              <a:gd name="connsiteX6" fmla="*/ 8504 w 10517"/>
              <a:gd name="connsiteY6" fmla="*/ 4904 h 10000"/>
              <a:gd name="connsiteX7" fmla="*/ 8070 w 10517"/>
              <a:gd name="connsiteY7" fmla="*/ 4218 h 10000"/>
              <a:gd name="connsiteX8" fmla="*/ 7578 w 10517"/>
              <a:gd name="connsiteY8" fmla="*/ 3579 h 10000"/>
              <a:gd name="connsiteX9" fmla="*/ 7051 w 10517"/>
              <a:gd name="connsiteY9" fmla="*/ 2987 h 10000"/>
              <a:gd name="connsiteX10" fmla="*/ 6501 w 10517"/>
              <a:gd name="connsiteY10" fmla="*/ 2444 h 10000"/>
              <a:gd name="connsiteX11" fmla="*/ 5903 w 10517"/>
              <a:gd name="connsiteY11" fmla="*/ 1949 h 10000"/>
              <a:gd name="connsiteX12" fmla="*/ 5295 w 10517"/>
              <a:gd name="connsiteY12" fmla="*/ 1501 h 10000"/>
              <a:gd name="connsiteX13" fmla="*/ 4662 w 10517"/>
              <a:gd name="connsiteY13" fmla="*/ 1102 h 10000"/>
              <a:gd name="connsiteX14" fmla="*/ 4006 w 10517"/>
              <a:gd name="connsiteY14" fmla="*/ 782 h 10000"/>
              <a:gd name="connsiteX15" fmla="*/ 3327 w 10517"/>
              <a:gd name="connsiteY15" fmla="*/ 495 h 10000"/>
              <a:gd name="connsiteX16" fmla="*/ 2649 w 10517"/>
              <a:gd name="connsiteY16" fmla="*/ 271 h 10000"/>
              <a:gd name="connsiteX17" fmla="*/ 1946 w 10517"/>
              <a:gd name="connsiteY17" fmla="*/ 112 h 10000"/>
              <a:gd name="connsiteX18" fmla="*/ 1231 w 10517"/>
              <a:gd name="connsiteY18" fmla="*/ 16 h 10000"/>
              <a:gd name="connsiteX19" fmla="*/ 0 w 10517"/>
              <a:gd name="connsiteY19" fmla="*/ 0 h 10000"/>
              <a:gd name="connsiteX20" fmla="*/ 1031 w 10517"/>
              <a:gd name="connsiteY20" fmla="*/ 3223 h 10000"/>
              <a:gd name="connsiteX21" fmla="*/ 54 w 10517"/>
              <a:gd name="connsiteY21" fmla="*/ 6466 h 10000"/>
              <a:gd name="connsiteX22" fmla="*/ 3895 w 10517"/>
              <a:gd name="connsiteY22" fmla="*/ 9176 h 10000"/>
              <a:gd name="connsiteX23" fmla="*/ 2742 w 10517"/>
              <a:gd name="connsiteY23" fmla="*/ 9984 h 10000"/>
              <a:gd name="connsiteX0" fmla="*/ 2742 w 10517"/>
              <a:gd name="connsiteY0" fmla="*/ 9984 h 10000"/>
              <a:gd name="connsiteX1" fmla="*/ 8093 w 10517"/>
              <a:gd name="connsiteY1" fmla="*/ 10000 h 10000"/>
              <a:gd name="connsiteX2" fmla="*/ 8948 w 10517"/>
              <a:gd name="connsiteY2" fmla="*/ 8179 h 10000"/>
              <a:gd name="connsiteX3" fmla="*/ 9744 w 10517"/>
              <a:gd name="connsiteY3" fmla="*/ 6358 h 10000"/>
              <a:gd name="connsiteX4" fmla="*/ 10517 w 10517"/>
              <a:gd name="connsiteY4" fmla="*/ 4457 h 10000"/>
              <a:gd name="connsiteX5" fmla="*/ 8913 w 10517"/>
              <a:gd name="connsiteY5" fmla="*/ 5607 h 10000"/>
              <a:gd name="connsiteX6" fmla="*/ 8504 w 10517"/>
              <a:gd name="connsiteY6" fmla="*/ 4904 h 10000"/>
              <a:gd name="connsiteX7" fmla="*/ 8070 w 10517"/>
              <a:gd name="connsiteY7" fmla="*/ 4218 h 10000"/>
              <a:gd name="connsiteX8" fmla="*/ 7578 w 10517"/>
              <a:gd name="connsiteY8" fmla="*/ 3579 h 10000"/>
              <a:gd name="connsiteX9" fmla="*/ 7051 w 10517"/>
              <a:gd name="connsiteY9" fmla="*/ 2987 h 10000"/>
              <a:gd name="connsiteX10" fmla="*/ 6501 w 10517"/>
              <a:gd name="connsiteY10" fmla="*/ 2444 h 10000"/>
              <a:gd name="connsiteX11" fmla="*/ 5903 w 10517"/>
              <a:gd name="connsiteY11" fmla="*/ 1949 h 10000"/>
              <a:gd name="connsiteX12" fmla="*/ 5295 w 10517"/>
              <a:gd name="connsiteY12" fmla="*/ 1501 h 10000"/>
              <a:gd name="connsiteX13" fmla="*/ 4662 w 10517"/>
              <a:gd name="connsiteY13" fmla="*/ 1102 h 10000"/>
              <a:gd name="connsiteX14" fmla="*/ 4006 w 10517"/>
              <a:gd name="connsiteY14" fmla="*/ 782 h 10000"/>
              <a:gd name="connsiteX15" fmla="*/ 3327 w 10517"/>
              <a:gd name="connsiteY15" fmla="*/ 495 h 10000"/>
              <a:gd name="connsiteX16" fmla="*/ 2649 w 10517"/>
              <a:gd name="connsiteY16" fmla="*/ 271 h 10000"/>
              <a:gd name="connsiteX17" fmla="*/ 1946 w 10517"/>
              <a:gd name="connsiteY17" fmla="*/ 112 h 10000"/>
              <a:gd name="connsiteX18" fmla="*/ 1231 w 10517"/>
              <a:gd name="connsiteY18" fmla="*/ 16 h 10000"/>
              <a:gd name="connsiteX19" fmla="*/ 0 w 10517"/>
              <a:gd name="connsiteY19" fmla="*/ 0 h 10000"/>
              <a:gd name="connsiteX20" fmla="*/ 54 w 10517"/>
              <a:gd name="connsiteY20" fmla="*/ 6466 h 10000"/>
              <a:gd name="connsiteX21" fmla="*/ 3895 w 10517"/>
              <a:gd name="connsiteY21" fmla="*/ 9176 h 10000"/>
              <a:gd name="connsiteX22" fmla="*/ 2742 w 10517"/>
              <a:gd name="connsiteY22" fmla="*/ 998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517" h="10000">
                <a:moveTo>
                  <a:pt x="2742" y="9984"/>
                </a:moveTo>
                <a:lnTo>
                  <a:pt x="8093" y="10000"/>
                </a:lnTo>
                <a:lnTo>
                  <a:pt x="8948" y="8179"/>
                </a:lnTo>
                <a:lnTo>
                  <a:pt x="9744" y="6358"/>
                </a:lnTo>
                <a:lnTo>
                  <a:pt x="10517" y="4457"/>
                </a:lnTo>
                <a:lnTo>
                  <a:pt x="8913" y="5607"/>
                </a:lnTo>
                <a:lnTo>
                  <a:pt x="8504" y="4904"/>
                </a:lnTo>
                <a:lnTo>
                  <a:pt x="8070" y="4218"/>
                </a:lnTo>
                <a:lnTo>
                  <a:pt x="7578" y="3579"/>
                </a:lnTo>
                <a:lnTo>
                  <a:pt x="7051" y="2987"/>
                </a:lnTo>
                <a:lnTo>
                  <a:pt x="6501" y="2444"/>
                </a:lnTo>
                <a:lnTo>
                  <a:pt x="5903" y="1949"/>
                </a:lnTo>
                <a:lnTo>
                  <a:pt x="5295" y="1501"/>
                </a:lnTo>
                <a:lnTo>
                  <a:pt x="4662" y="1102"/>
                </a:lnTo>
                <a:lnTo>
                  <a:pt x="4006" y="782"/>
                </a:lnTo>
                <a:lnTo>
                  <a:pt x="3327" y="495"/>
                </a:lnTo>
                <a:lnTo>
                  <a:pt x="2649" y="271"/>
                </a:lnTo>
                <a:lnTo>
                  <a:pt x="1946" y="112"/>
                </a:lnTo>
                <a:lnTo>
                  <a:pt x="1231" y="16"/>
                </a:lnTo>
                <a:lnTo>
                  <a:pt x="0" y="0"/>
                </a:lnTo>
                <a:cubicBezTo>
                  <a:pt x="18" y="2155"/>
                  <a:pt x="36" y="4311"/>
                  <a:pt x="54" y="6466"/>
                </a:cubicBezTo>
                <a:cubicBezTo>
                  <a:pt x="2834" y="6768"/>
                  <a:pt x="3492" y="8426"/>
                  <a:pt x="3895" y="9176"/>
                </a:cubicBezTo>
                <a:lnTo>
                  <a:pt x="2742" y="9984"/>
                </a:lnTo>
              </a:path>
            </a:pathLst>
          </a:custGeom>
          <a:solidFill>
            <a:schemeClr val="accent3">
              <a:lumMod val="75000"/>
            </a:schemeClr>
          </a:solidFill>
          <a:ln w="9525">
            <a:noFill/>
            <a:round/>
            <a:headEnd/>
            <a:tailEnd/>
          </a:ln>
        </p:spPr>
        <p:txBody>
          <a:bodyPr lIns="0" tIns="0" rIns="0" bIns="0"/>
          <a:lstStyle/>
          <a:p>
            <a:endParaRPr lang="da-DK" sz="1050">
              <a:latin typeface="Calibri" panose="020F0502020204030204" pitchFamily="34" charset="0"/>
            </a:endParaRPr>
          </a:p>
        </p:txBody>
      </p:sp>
      <p:sp>
        <p:nvSpPr>
          <p:cNvPr id="40" name="Rectangle 39"/>
          <p:cNvSpPr>
            <a:spLocks/>
          </p:cNvSpPr>
          <p:nvPr/>
        </p:nvSpPr>
        <p:spPr>
          <a:xfrm>
            <a:off x="6638247" y="3099724"/>
            <a:ext cx="503850" cy="2000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r>
              <a:rPr lang="en-IN" sz="1050" b="1" dirty="0">
                <a:solidFill>
                  <a:schemeClr val="tx1"/>
                </a:solidFill>
                <a:latin typeface="Calibri" panose="020F0502020204030204" pitchFamily="34" charset="0"/>
              </a:rPr>
              <a:t>Refine</a:t>
            </a:r>
          </a:p>
        </p:txBody>
      </p:sp>
      <p:sp>
        <p:nvSpPr>
          <p:cNvPr id="3" name="Rectangle 2"/>
          <p:cNvSpPr>
            <a:spLocks/>
          </p:cNvSpPr>
          <p:nvPr/>
        </p:nvSpPr>
        <p:spPr>
          <a:xfrm>
            <a:off x="549934" y="1806104"/>
            <a:ext cx="1971664"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r>
              <a:rPr lang="en-IN" sz="1200" b="1" dirty="0" smtClean="0">
                <a:solidFill>
                  <a:schemeClr val="tx1"/>
                </a:solidFill>
                <a:latin typeface="Calibri" panose="020F0502020204030204" pitchFamily="34" charset="0"/>
              </a:rPr>
              <a:t>Does this really solve an issue? </a:t>
            </a:r>
            <a:endParaRPr lang="en-IN" sz="1200" b="1" dirty="0">
              <a:solidFill>
                <a:schemeClr val="tx1"/>
              </a:solidFill>
              <a:latin typeface="Calibri" panose="020F0502020204030204" pitchFamily="34" charset="0"/>
            </a:endParaRPr>
          </a:p>
        </p:txBody>
      </p:sp>
      <p:sp>
        <p:nvSpPr>
          <p:cNvPr id="4" name="Rectangle 3"/>
          <p:cNvSpPr>
            <a:spLocks/>
          </p:cNvSpPr>
          <p:nvPr/>
        </p:nvSpPr>
        <p:spPr>
          <a:xfrm>
            <a:off x="520381" y="4497635"/>
            <a:ext cx="2094678" cy="13311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171450" indent="-171450">
              <a:spcBef>
                <a:spcPts val="75"/>
              </a:spcBef>
              <a:buFont typeface="Wingdings" panose="05000000000000000000" pitchFamily="2" charset="2"/>
              <a:buChar char="q"/>
            </a:pPr>
            <a:r>
              <a:rPr lang="en-IN" sz="1200" dirty="0" smtClean="0">
                <a:solidFill>
                  <a:schemeClr val="tx1"/>
                </a:solidFill>
                <a:latin typeface="Calibri" panose="020F0502020204030204" pitchFamily="34" charset="0"/>
              </a:rPr>
              <a:t>Why--new service, improvement, compliance?</a:t>
            </a:r>
          </a:p>
          <a:p>
            <a:pPr marL="171450" indent="-171450">
              <a:spcBef>
                <a:spcPts val="75"/>
              </a:spcBef>
              <a:buFont typeface="Wingdings" panose="05000000000000000000" pitchFamily="2" charset="2"/>
              <a:buChar char="q"/>
            </a:pPr>
            <a:r>
              <a:rPr lang="en-IN" sz="1200" dirty="0" smtClean="0">
                <a:solidFill>
                  <a:schemeClr val="tx1"/>
                </a:solidFill>
                <a:latin typeface="Calibri" panose="020F0502020204030204" pitchFamily="34" charset="0"/>
              </a:rPr>
              <a:t>No duplication?</a:t>
            </a:r>
          </a:p>
          <a:p>
            <a:pPr marL="171450" indent="-171450">
              <a:spcBef>
                <a:spcPts val="75"/>
              </a:spcBef>
              <a:buFont typeface="Wingdings" panose="05000000000000000000" pitchFamily="2" charset="2"/>
              <a:buChar char="q"/>
            </a:pPr>
            <a:r>
              <a:rPr lang="en-IN" sz="1200" dirty="0" smtClean="0">
                <a:solidFill>
                  <a:schemeClr val="tx1"/>
                </a:solidFill>
                <a:latin typeface="Calibri" panose="020F0502020204030204" pitchFamily="34" charset="0"/>
              </a:rPr>
              <a:t>Schools say this is a priority? </a:t>
            </a:r>
          </a:p>
          <a:p>
            <a:pPr marL="171450" indent="-171450">
              <a:spcBef>
                <a:spcPts val="75"/>
              </a:spcBef>
              <a:buFont typeface="Wingdings" panose="05000000000000000000" pitchFamily="2" charset="2"/>
              <a:buChar char="q"/>
            </a:pPr>
            <a:r>
              <a:rPr lang="en-IN" sz="1200" dirty="0" smtClean="0">
                <a:solidFill>
                  <a:schemeClr val="tx1"/>
                </a:solidFill>
                <a:latin typeface="Calibri" panose="020F0502020204030204" pitchFamily="34" charset="0"/>
              </a:rPr>
              <a:t>Evidence </a:t>
            </a:r>
            <a:r>
              <a:rPr lang="en-IN" sz="1200" dirty="0" err="1" smtClean="0">
                <a:solidFill>
                  <a:schemeClr val="tx1"/>
                </a:solidFill>
                <a:latin typeface="Calibri" panose="020F0502020204030204" pitchFamily="34" charset="0"/>
              </a:rPr>
              <a:t>ofof</a:t>
            </a:r>
            <a:r>
              <a:rPr lang="en-IN" sz="1200" dirty="0" smtClean="0">
                <a:solidFill>
                  <a:schemeClr val="tx1"/>
                </a:solidFill>
                <a:latin typeface="Calibri" panose="020F0502020204030204" pitchFamily="34" charset="0"/>
              </a:rPr>
              <a:t> </a:t>
            </a:r>
            <a:r>
              <a:rPr lang="en-IN" sz="1200" dirty="0" err="1" smtClean="0">
                <a:solidFill>
                  <a:schemeClr val="tx1"/>
                </a:solidFill>
                <a:latin typeface="Calibri" panose="020F0502020204030204" pitchFamily="34" charset="0"/>
              </a:rPr>
              <a:t>hool</a:t>
            </a:r>
            <a:r>
              <a:rPr lang="en-IN" sz="1200" dirty="0" smtClean="0">
                <a:solidFill>
                  <a:schemeClr val="tx1"/>
                </a:solidFill>
                <a:latin typeface="Calibri" panose="020F0502020204030204" pitchFamily="34" charset="0"/>
              </a:rPr>
              <a:t> appetite (e.g. signatures of school principals)?</a:t>
            </a:r>
            <a:endParaRPr lang="en-IN" sz="1200" dirty="0">
              <a:solidFill>
                <a:schemeClr val="tx1"/>
              </a:solidFill>
              <a:latin typeface="Calibri" panose="020F0502020204030204" pitchFamily="34" charset="0"/>
            </a:endParaRPr>
          </a:p>
        </p:txBody>
      </p:sp>
      <p:pic>
        <p:nvPicPr>
          <p:cNvPr id="39" name="Picture 3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51606" y="2776528"/>
            <a:ext cx="1017287" cy="1017287"/>
          </a:xfrm>
          <a:prstGeom prst="rect">
            <a:avLst/>
          </a:prstGeom>
        </p:spPr>
      </p:pic>
      <p:grpSp>
        <p:nvGrpSpPr>
          <p:cNvPr id="16" name="Group 15"/>
          <p:cNvGrpSpPr/>
          <p:nvPr/>
        </p:nvGrpSpPr>
        <p:grpSpPr>
          <a:xfrm>
            <a:off x="529066" y="1346914"/>
            <a:ext cx="1992532" cy="420979"/>
            <a:chOff x="529066" y="1233253"/>
            <a:chExt cx="1992532" cy="420979"/>
          </a:xfrm>
        </p:grpSpPr>
        <p:sp>
          <p:nvSpPr>
            <p:cNvPr id="41" name="TextBox 40"/>
            <p:cNvSpPr txBox="1">
              <a:spLocks/>
            </p:cNvSpPr>
            <p:nvPr/>
          </p:nvSpPr>
          <p:spPr>
            <a:xfrm>
              <a:off x="529066" y="1233253"/>
              <a:ext cx="1138132" cy="369332"/>
            </a:xfrm>
            <a:prstGeom prst="rect">
              <a:avLst/>
            </a:prstGeom>
            <a:noFill/>
          </p:spPr>
          <p:txBody>
            <a:bodyPr wrap="none" lIns="0" tIns="0" rIns="0" bIns="0" rtlCol="0" anchor="b">
              <a:spAutoFit/>
            </a:bodyPr>
            <a:lstStyle/>
            <a:p>
              <a:pPr marL="0" marR="0" lvl="0" indent="0" algn="l" defTabSz="1219170" rtl="0" eaLnBrk="1" fontAlgn="base" latinLnBrk="0" hangingPunct="1">
                <a:lnSpc>
                  <a:spcPct val="100000"/>
                </a:lnSpc>
                <a:spcBef>
                  <a:spcPts val="0"/>
                </a:spcBef>
                <a:spcAft>
                  <a:spcPct val="0"/>
                </a:spcAft>
                <a:buClr>
                  <a:prstClr val="black"/>
                </a:buClr>
                <a:buSzTx/>
                <a:buFontTx/>
                <a:buNone/>
                <a:tabLst/>
                <a:defRPr/>
              </a:pPr>
              <a:r>
                <a:rPr lang="en-US" sz="1200" b="1" dirty="0" smtClean="0">
                  <a:solidFill>
                    <a:prstClr val="black"/>
                  </a:solidFill>
                  <a:latin typeface="Montserrat Light" charset="0"/>
                  <a:ea typeface="ＭＳ Ｐゴシック" charset="0"/>
                  <a:cs typeface="Arial" pitchFamily="34" charset="0"/>
                </a:rPr>
                <a:t>Gateway 1: </a:t>
              </a:r>
            </a:p>
            <a:p>
              <a:pPr marL="0" marR="0" lvl="0" indent="0" algn="l" defTabSz="1219170" rtl="0" eaLnBrk="1" fontAlgn="base" latinLnBrk="0" hangingPunct="1">
                <a:lnSpc>
                  <a:spcPct val="100000"/>
                </a:lnSpc>
                <a:spcBef>
                  <a:spcPts val="0"/>
                </a:spcBef>
                <a:spcAft>
                  <a:spcPct val="0"/>
                </a:spcAft>
                <a:buClr>
                  <a:prstClr val="black"/>
                </a:buClr>
                <a:buSzTx/>
                <a:buFontTx/>
                <a:buNone/>
                <a:tabLst/>
                <a:defRPr/>
              </a:pPr>
              <a:r>
                <a:rPr lang="en-US" sz="1200" b="1" dirty="0" smtClean="0">
                  <a:solidFill>
                    <a:prstClr val="black"/>
                  </a:solidFill>
                  <a:latin typeface="Montserrat Light" charset="0"/>
                  <a:ea typeface="ＭＳ Ｐゴシック" charset="0"/>
                  <a:cs typeface="Arial" pitchFamily="34" charset="0"/>
                </a:rPr>
                <a:t>Idea generation</a:t>
              </a:r>
              <a:endParaRPr kumimoji="0" lang="en-US" sz="1200" b="1" i="0" u="none" strike="noStrike" kern="1200" cap="none" spc="0" normalizeH="0" baseline="0" noProof="0" dirty="0">
                <a:ln>
                  <a:noFill/>
                </a:ln>
                <a:solidFill>
                  <a:prstClr val="black"/>
                </a:solidFill>
                <a:effectLst/>
                <a:uLnTx/>
                <a:uFillTx/>
                <a:latin typeface="Montserrat Light" charset="0"/>
                <a:ea typeface="ＭＳ Ｐゴシック" charset="0"/>
                <a:cs typeface="Arial" pitchFamily="34" charset="0"/>
              </a:endParaRPr>
            </a:p>
          </p:txBody>
        </p:sp>
        <p:cxnSp>
          <p:nvCxnSpPr>
            <p:cNvPr id="42" name="Straight Connector 41"/>
            <p:cNvCxnSpPr>
              <a:cxnSpLocks/>
            </p:cNvCxnSpPr>
            <p:nvPr/>
          </p:nvCxnSpPr>
          <p:spPr>
            <a:xfrm>
              <a:off x="549934" y="1654232"/>
              <a:ext cx="1971664"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8" name="Group 7"/>
          <p:cNvGrpSpPr/>
          <p:nvPr/>
        </p:nvGrpSpPr>
        <p:grpSpPr>
          <a:xfrm>
            <a:off x="6655670" y="1346914"/>
            <a:ext cx="2992807" cy="420979"/>
            <a:chOff x="6626557" y="1233253"/>
            <a:chExt cx="2992807" cy="420979"/>
          </a:xfrm>
        </p:grpSpPr>
        <p:sp>
          <p:nvSpPr>
            <p:cNvPr id="45" name="TextBox 44"/>
            <p:cNvSpPr txBox="1">
              <a:spLocks/>
            </p:cNvSpPr>
            <p:nvPr/>
          </p:nvSpPr>
          <p:spPr>
            <a:xfrm>
              <a:off x="6626557" y="1233253"/>
              <a:ext cx="2138406" cy="369332"/>
            </a:xfrm>
            <a:prstGeom prst="rect">
              <a:avLst/>
            </a:prstGeom>
            <a:noFill/>
          </p:spPr>
          <p:txBody>
            <a:bodyPr wrap="none" lIns="0" tIns="0" rIns="0" bIns="0" rtlCol="0" anchor="b">
              <a:spAutoFit/>
            </a:bodyPr>
            <a:lstStyle/>
            <a:p>
              <a:pPr marL="0" marR="0" lvl="0" indent="0" algn="l" defTabSz="1219170" rtl="0" eaLnBrk="1" fontAlgn="base" latinLnBrk="0" hangingPunct="1">
                <a:lnSpc>
                  <a:spcPct val="100000"/>
                </a:lnSpc>
                <a:spcBef>
                  <a:spcPts val="0"/>
                </a:spcBef>
                <a:spcAft>
                  <a:spcPct val="0"/>
                </a:spcAft>
                <a:buClr>
                  <a:prstClr val="black"/>
                </a:buClr>
                <a:buSzTx/>
                <a:buFontTx/>
                <a:buNone/>
                <a:tabLst/>
                <a:defRPr/>
              </a:pPr>
              <a:r>
                <a:rPr lang="en-US" sz="1200" b="1" noProof="0" dirty="0" smtClean="0">
                  <a:solidFill>
                    <a:prstClr val="black"/>
                  </a:solidFill>
                  <a:latin typeface="Montserrat Light" charset="0"/>
                  <a:ea typeface="ＭＳ Ｐゴシック" charset="0"/>
                  <a:cs typeface="Arial" pitchFamily="34" charset="0"/>
                </a:rPr>
                <a:t>Gateway 3: </a:t>
              </a:r>
            </a:p>
            <a:p>
              <a:pPr marL="0" marR="0" lvl="0" indent="0" algn="l" defTabSz="1219170" rtl="0" eaLnBrk="1" fontAlgn="base" latinLnBrk="0" hangingPunct="1">
                <a:lnSpc>
                  <a:spcPct val="100000"/>
                </a:lnSpc>
                <a:spcBef>
                  <a:spcPts val="0"/>
                </a:spcBef>
                <a:spcAft>
                  <a:spcPct val="0"/>
                </a:spcAft>
                <a:buClr>
                  <a:prstClr val="black"/>
                </a:buClr>
                <a:buSzTx/>
                <a:buFontTx/>
                <a:buNone/>
                <a:tabLst/>
                <a:defRPr/>
              </a:pPr>
              <a:r>
                <a:rPr lang="en-US" sz="1200" b="1" noProof="0" dirty="0" smtClean="0">
                  <a:solidFill>
                    <a:prstClr val="black"/>
                  </a:solidFill>
                  <a:latin typeface="Montserrat Light" charset="0"/>
                  <a:ea typeface="ＭＳ Ｐゴシック" charset="0"/>
                  <a:cs typeface="Arial" pitchFamily="34" charset="0"/>
                </a:rPr>
                <a:t>Prototype, iterate and govern</a:t>
              </a:r>
              <a:endParaRPr kumimoji="0" lang="en-US" sz="1200" b="1" i="0" u="none" strike="noStrike" kern="1200" cap="none" spc="0" normalizeH="0" baseline="0" noProof="0" dirty="0">
                <a:ln>
                  <a:noFill/>
                </a:ln>
                <a:solidFill>
                  <a:prstClr val="black"/>
                </a:solidFill>
                <a:effectLst/>
                <a:uLnTx/>
                <a:uFillTx/>
                <a:latin typeface="Montserrat Light" charset="0"/>
                <a:ea typeface="ＭＳ Ｐゴシック" charset="0"/>
                <a:cs typeface="Arial" pitchFamily="34" charset="0"/>
              </a:endParaRPr>
            </a:p>
          </p:txBody>
        </p:sp>
        <p:cxnSp>
          <p:nvCxnSpPr>
            <p:cNvPr id="46" name="Straight Connector 45"/>
            <p:cNvCxnSpPr>
              <a:cxnSpLocks/>
            </p:cNvCxnSpPr>
            <p:nvPr/>
          </p:nvCxnSpPr>
          <p:spPr>
            <a:xfrm>
              <a:off x="6626557" y="1654232"/>
              <a:ext cx="2992807"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 name="Group 6"/>
          <p:cNvGrpSpPr/>
          <p:nvPr/>
        </p:nvGrpSpPr>
        <p:grpSpPr>
          <a:xfrm>
            <a:off x="9844807" y="1363036"/>
            <a:ext cx="1708801" cy="404857"/>
            <a:chOff x="10074729" y="1249375"/>
            <a:chExt cx="1708801" cy="404857"/>
          </a:xfrm>
        </p:grpSpPr>
        <p:sp>
          <p:nvSpPr>
            <p:cNvPr id="47" name="TextBox 46"/>
            <p:cNvSpPr txBox="1">
              <a:spLocks/>
            </p:cNvSpPr>
            <p:nvPr/>
          </p:nvSpPr>
          <p:spPr>
            <a:xfrm>
              <a:off x="10074729" y="1249375"/>
              <a:ext cx="1130118" cy="369332"/>
            </a:xfrm>
            <a:prstGeom prst="rect">
              <a:avLst/>
            </a:prstGeom>
            <a:noFill/>
          </p:spPr>
          <p:txBody>
            <a:bodyPr wrap="none" lIns="0" tIns="0" rIns="0" bIns="0" rtlCol="0" anchor="b">
              <a:spAutoFit/>
            </a:bodyPr>
            <a:lstStyle/>
            <a:p>
              <a:pPr marL="0" marR="0" lvl="0" indent="0" algn="l" defTabSz="1219170" rtl="0" eaLnBrk="1" fontAlgn="base" latinLnBrk="0" hangingPunct="1">
                <a:lnSpc>
                  <a:spcPct val="100000"/>
                </a:lnSpc>
                <a:spcBef>
                  <a:spcPts val="0"/>
                </a:spcBef>
                <a:spcAft>
                  <a:spcPct val="0"/>
                </a:spcAft>
                <a:buClr>
                  <a:prstClr val="black"/>
                </a:buClr>
                <a:buSzTx/>
                <a:buFontTx/>
                <a:buNone/>
                <a:tabLst/>
                <a:defRPr/>
              </a:pPr>
              <a:r>
                <a:rPr lang="en-US" sz="1200" b="1" noProof="0" dirty="0" smtClean="0">
                  <a:solidFill>
                    <a:prstClr val="black"/>
                  </a:solidFill>
                  <a:latin typeface="Montserrat Light" charset="0"/>
                  <a:ea typeface="ＭＳ Ｐゴシック" charset="0"/>
                  <a:cs typeface="Arial" pitchFamily="34" charset="0"/>
                </a:rPr>
                <a:t>Final Gateway: </a:t>
              </a:r>
            </a:p>
            <a:p>
              <a:pPr marL="0" marR="0" lvl="0" indent="0" algn="l" defTabSz="1219170" rtl="0" eaLnBrk="1" fontAlgn="base" latinLnBrk="0" hangingPunct="1">
                <a:lnSpc>
                  <a:spcPct val="100000"/>
                </a:lnSpc>
                <a:spcBef>
                  <a:spcPts val="0"/>
                </a:spcBef>
                <a:spcAft>
                  <a:spcPct val="0"/>
                </a:spcAft>
                <a:buClr>
                  <a:prstClr val="black"/>
                </a:buClr>
                <a:buSzTx/>
                <a:buFontTx/>
                <a:buNone/>
                <a:tabLst/>
                <a:defRPr/>
              </a:pPr>
              <a:r>
                <a:rPr lang="en-US" sz="1200" b="1" dirty="0" smtClean="0">
                  <a:solidFill>
                    <a:prstClr val="black"/>
                  </a:solidFill>
                  <a:latin typeface="Montserrat Light" charset="0"/>
                  <a:ea typeface="ＭＳ Ｐゴシック" charset="0"/>
                  <a:cs typeface="Arial" pitchFamily="34" charset="0"/>
                </a:rPr>
                <a:t>‘Go/no-go’</a:t>
              </a:r>
              <a:endParaRPr kumimoji="0" lang="en-US" sz="1200" b="1" i="0" u="none" strike="noStrike" kern="1200" cap="none" spc="0" normalizeH="0" baseline="0" noProof="0" dirty="0">
                <a:ln>
                  <a:noFill/>
                </a:ln>
                <a:solidFill>
                  <a:prstClr val="black"/>
                </a:solidFill>
                <a:effectLst/>
                <a:uLnTx/>
                <a:uFillTx/>
                <a:latin typeface="Montserrat Light" charset="0"/>
                <a:ea typeface="ＭＳ Ｐゴシック" charset="0"/>
                <a:cs typeface="Arial" pitchFamily="34" charset="0"/>
              </a:endParaRPr>
            </a:p>
          </p:txBody>
        </p:sp>
        <p:cxnSp>
          <p:nvCxnSpPr>
            <p:cNvPr id="48" name="Straight Connector 47"/>
            <p:cNvCxnSpPr>
              <a:cxnSpLocks/>
            </p:cNvCxnSpPr>
            <p:nvPr/>
          </p:nvCxnSpPr>
          <p:spPr>
            <a:xfrm>
              <a:off x="10074729" y="1654232"/>
              <a:ext cx="1708801"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49" name="Group 48"/>
          <p:cNvGrpSpPr/>
          <p:nvPr/>
        </p:nvGrpSpPr>
        <p:grpSpPr>
          <a:xfrm>
            <a:off x="10231165" y="3032814"/>
            <a:ext cx="884799" cy="970129"/>
            <a:chOff x="431801" y="4117975"/>
            <a:chExt cx="561975" cy="725488"/>
          </a:xfrm>
        </p:grpSpPr>
        <p:sp>
          <p:nvSpPr>
            <p:cNvPr id="50" name="Freeform 7"/>
            <p:cNvSpPr>
              <a:spLocks noEditPoints="1"/>
            </p:cNvSpPr>
            <p:nvPr/>
          </p:nvSpPr>
          <p:spPr bwMode="auto">
            <a:xfrm>
              <a:off x="519113" y="4316413"/>
              <a:ext cx="130175" cy="303213"/>
            </a:xfrm>
            <a:custGeom>
              <a:avLst/>
              <a:gdLst>
                <a:gd name="T0" fmla="*/ 96 w 191"/>
                <a:gd name="T1" fmla="*/ 445 h 445"/>
                <a:gd name="T2" fmla="*/ 163 w 191"/>
                <a:gd name="T3" fmla="*/ 418 h 445"/>
                <a:gd name="T4" fmla="*/ 191 w 191"/>
                <a:gd name="T5" fmla="*/ 350 h 445"/>
                <a:gd name="T6" fmla="*/ 163 w 191"/>
                <a:gd name="T7" fmla="*/ 283 h 445"/>
                <a:gd name="T8" fmla="*/ 96 w 191"/>
                <a:gd name="T9" fmla="*/ 255 h 445"/>
                <a:gd name="T10" fmla="*/ 28 w 191"/>
                <a:gd name="T11" fmla="*/ 283 h 445"/>
                <a:gd name="T12" fmla="*/ 0 w 191"/>
                <a:gd name="T13" fmla="*/ 350 h 445"/>
                <a:gd name="T14" fmla="*/ 28 w 191"/>
                <a:gd name="T15" fmla="*/ 418 h 445"/>
                <a:gd name="T16" fmla="*/ 96 w 191"/>
                <a:gd name="T17" fmla="*/ 445 h 445"/>
                <a:gd name="T18" fmla="*/ 34 w 191"/>
                <a:gd name="T19" fmla="*/ 343 h 445"/>
                <a:gd name="T20" fmla="*/ 37 w 191"/>
                <a:gd name="T21" fmla="*/ 326 h 445"/>
                <a:gd name="T22" fmla="*/ 54 w 191"/>
                <a:gd name="T23" fmla="*/ 328 h 445"/>
                <a:gd name="T24" fmla="*/ 83 w 191"/>
                <a:gd name="T25" fmla="*/ 368 h 445"/>
                <a:gd name="T26" fmla="*/ 103 w 191"/>
                <a:gd name="T27" fmla="*/ 340 h 445"/>
                <a:gd name="T28" fmla="*/ 139 w 191"/>
                <a:gd name="T29" fmla="*/ 302 h 445"/>
                <a:gd name="T30" fmla="*/ 156 w 191"/>
                <a:gd name="T31" fmla="*/ 303 h 445"/>
                <a:gd name="T32" fmla="*/ 156 w 191"/>
                <a:gd name="T33" fmla="*/ 320 h 445"/>
                <a:gd name="T34" fmla="*/ 123 w 191"/>
                <a:gd name="T35" fmla="*/ 355 h 445"/>
                <a:gd name="T36" fmla="*/ 95 w 191"/>
                <a:gd name="T37" fmla="*/ 396 h 445"/>
                <a:gd name="T38" fmla="*/ 91 w 191"/>
                <a:gd name="T39" fmla="*/ 400 h 445"/>
                <a:gd name="T40" fmla="*/ 74 w 191"/>
                <a:gd name="T41" fmla="*/ 397 h 445"/>
                <a:gd name="T42" fmla="*/ 34 w 191"/>
                <a:gd name="T43" fmla="*/ 343 h 445"/>
                <a:gd name="T44" fmla="*/ 96 w 191"/>
                <a:gd name="T45" fmla="*/ 190 h 445"/>
                <a:gd name="T46" fmla="*/ 163 w 191"/>
                <a:gd name="T47" fmla="*/ 162 h 445"/>
                <a:gd name="T48" fmla="*/ 191 w 191"/>
                <a:gd name="T49" fmla="*/ 95 h 445"/>
                <a:gd name="T50" fmla="*/ 163 w 191"/>
                <a:gd name="T51" fmla="*/ 27 h 445"/>
                <a:gd name="T52" fmla="*/ 96 w 191"/>
                <a:gd name="T53" fmla="*/ 0 h 445"/>
                <a:gd name="T54" fmla="*/ 28 w 191"/>
                <a:gd name="T55" fmla="*/ 27 h 445"/>
                <a:gd name="T56" fmla="*/ 0 w 191"/>
                <a:gd name="T57" fmla="*/ 95 h 445"/>
                <a:gd name="T58" fmla="*/ 28 w 191"/>
                <a:gd name="T59" fmla="*/ 162 h 445"/>
                <a:gd name="T60" fmla="*/ 96 w 191"/>
                <a:gd name="T61" fmla="*/ 190 h 445"/>
                <a:gd name="T62" fmla="*/ 34 w 191"/>
                <a:gd name="T63" fmla="*/ 88 h 445"/>
                <a:gd name="T64" fmla="*/ 37 w 191"/>
                <a:gd name="T65" fmla="*/ 70 h 445"/>
                <a:gd name="T66" fmla="*/ 54 w 191"/>
                <a:gd name="T67" fmla="*/ 73 h 445"/>
                <a:gd name="T68" fmla="*/ 83 w 191"/>
                <a:gd name="T69" fmla="*/ 112 h 445"/>
                <a:gd name="T70" fmla="*/ 103 w 191"/>
                <a:gd name="T71" fmla="*/ 84 h 445"/>
                <a:gd name="T72" fmla="*/ 139 w 191"/>
                <a:gd name="T73" fmla="*/ 46 h 445"/>
                <a:gd name="T74" fmla="*/ 156 w 191"/>
                <a:gd name="T75" fmla="*/ 47 h 445"/>
                <a:gd name="T76" fmla="*/ 156 w 191"/>
                <a:gd name="T77" fmla="*/ 64 h 445"/>
                <a:gd name="T78" fmla="*/ 123 w 191"/>
                <a:gd name="T79" fmla="*/ 100 h 445"/>
                <a:gd name="T80" fmla="*/ 95 w 191"/>
                <a:gd name="T81" fmla="*/ 140 h 445"/>
                <a:gd name="T82" fmla="*/ 91 w 191"/>
                <a:gd name="T83" fmla="*/ 144 h 445"/>
                <a:gd name="T84" fmla="*/ 74 w 191"/>
                <a:gd name="T85" fmla="*/ 141 h 445"/>
                <a:gd name="T86" fmla="*/ 34 w 191"/>
                <a:gd name="T87" fmla="*/ 88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1" h="445">
                  <a:moveTo>
                    <a:pt x="96" y="445"/>
                  </a:moveTo>
                  <a:cubicBezTo>
                    <a:pt x="122" y="445"/>
                    <a:pt x="146" y="435"/>
                    <a:pt x="163" y="418"/>
                  </a:cubicBezTo>
                  <a:cubicBezTo>
                    <a:pt x="180" y="400"/>
                    <a:pt x="191" y="377"/>
                    <a:pt x="191" y="350"/>
                  </a:cubicBezTo>
                  <a:cubicBezTo>
                    <a:pt x="191" y="324"/>
                    <a:pt x="180" y="300"/>
                    <a:pt x="163" y="283"/>
                  </a:cubicBezTo>
                  <a:cubicBezTo>
                    <a:pt x="146" y="266"/>
                    <a:pt x="122" y="255"/>
                    <a:pt x="96" y="255"/>
                  </a:cubicBezTo>
                  <a:cubicBezTo>
                    <a:pt x="69" y="255"/>
                    <a:pt x="46" y="266"/>
                    <a:pt x="28" y="283"/>
                  </a:cubicBezTo>
                  <a:cubicBezTo>
                    <a:pt x="11" y="300"/>
                    <a:pt x="0" y="324"/>
                    <a:pt x="0" y="350"/>
                  </a:cubicBezTo>
                  <a:cubicBezTo>
                    <a:pt x="0" y="377"/>
                    <a:pt x="11" y="400"/>
                    <a:pt x="28" y="418"/>
                  </a:cubicBezTo>
                  <a:cubicBezTo>
                    <a:pt x="46" y="435"/>
                    <a:pt x="69" y="445"/>
                    <a:pt x="96" y="445"/>
                  </a:cubicBezTo>
                  <a:close/>
                  <a:moveTo>
                    <a:pt x="34" y="343"/>
                  </a:moveTo>
                  <a:cubicBezTo>
                    <a:pt x="30" y="338"/>
                    <a:pt x="31" y="330"/>
                    <a:pt x="37" y="326"/>
                  </a:cubicBezTo>
                  <a:cubicBezTo>
                    <a:pt x="42" y="322"/>
                    <a:pt x="50" y="323"/>
                    <a:pt x="54" y="328"/>
                  </a:cubicBezTo>
                  <a:cubicBezTo>
                    <a:pt x="83" y="368"/>
                    <a:pt x="83" y="368"/>
                    <a:pt x="83" y="368"/>
                  </a:cubicBezTo>
                  <a:cubicBezTo>
                    <a:pt x="89" y="358"/>
                    <a:pt x="96" y="349"/>
                    <a:pt x="103" y="340"/>
                  </a:cubicBezTo>
                  <a:cubicBezTo>
                    <a:pt x="114" y="326"/>
                    <a:pt x="126" y="314"/>
                    <a:pt x="139" y="302"/>
                  </a:cubicBezTo>
                  <a:cubicBezTo>
                    <a:pt x="144" y="297"/>
                    <a:pt x="152" y="298"/>
                    <a:pt x="156" y="303"/>
                  </a:cubicBezTo>
                  <a:cubicBezTo>
                    <a:pt x="161" y="308"/>
                    <a:pt x="161" y="315"/>
                    <a:pt x="156" y="320"/>
                  </a:cubicBezTo>
                  <a:cubicBezTo>
                    <a:pt x="144" y="331"/>
                    <a:pt x="133" y="343"/>
                    <a:pt x="123" y="355"/>
                  </a:cubicBezTo>
                  <a:cubicBezTo>
                    <a:pt x="113" y="368"/>
                    <a:pt x="103" y="381"/>
                    <a:pt x="95" y="396"/>
                  </a:cubicBezTo>
                  <a:cubicBezTo>
                    <a:pt x="94" y="397"/>
                    <a:pt x="93" y="398"/>
                    <a:pt x="91" y="400"/>
                  </a:cubicBezTo>
                  <a:cubicBezTo>
                    <a:pt x="86" y="404"/>
                    <a:pt x="78" y="403"/>
                    <a:pt x="74" y="397"/>
                  </a:cubicBezTo>
                  <a:cubicBezTo>
                    <a:pt x="34" y="343"/>
                    <a:pt x="34" y="343"/>
                    <a:pt x="34" y="343"/>
                  </a:cubicBezTo>
                  <a:close/>
                  <a:moveTo>
                    <a:pt x="96" y="190"/>
                  </a:moveTo>
                  <a:cubicBezTo>
                    <a:pt x="122" y="190"/>
                    <a:pt x="146" y="179"/>
                    <a:pt x="163" y="162"/>
                  </a:cubicBezTo>
                  <a:cubicBezTo>
                    <a:pt x="180" y="145"/>
                    <a:pt x="191" y="121"/>
                    <a:pt x="191" y="95"/>
                  </a:cubicBezTo>
                  <a:cubicBezTo>
                    <a:pt x="191" y="68"/>
                    <a:pt x="180" y="45"/>
                    <a:pt x="163" y="27"/>
                  </a:cubicBezTo>
                  <a:cubicBezTo>
                    <a:pt x="146" y="10"/>
                    <a:pt x="122" y="0"/>
                    <a:pt x="96" y="0"/>
                  </a:cubicBezTo>
                  <a:cubicBezTo>
                    <a:pt x="69" y="0"/>
                    <a:pt x="46" y="10"/>
                    <a:pt x="28" y="27"/>
                  </a:cubicBezTo>
                  <a:cubicBezTo>
                    <a:pt x="11" y="45"/>
                    <a:pt x="0" y="68"/>
                    <a:pt x="0" y="95"/>
                  </a:cubicBezTo>
                  <a:cubicBezTo>
                    <a:pt x="0" y="121"/>
                    <a:pt x="11" y="145"/>
                    <a:pt x="28" y="162"/>
                  </a:cubicBezTo>
                  <a:cubicBezTo>
                    <a:pt x="46" y="179"/>
                    <a:pt x="69" y="190"/>
                    <a:pt x="96" y="190"/>
                  </a:cubicBezTo>
                  <a:close/>
                  <a:moveTo>
                    <a:pt x="34" y="88"/>
                  </a:moveTo>
                  <a:cubicBezTo>
                    <a:pt x="30" y="82"/>
                    <a:pt x="31" y="74"/>
                    <a:pt x="37" y="70"/>
                  </a:cubicBezTo>
                  <a:cubicBezTo>
                    <a:pt x="42" y="66"/>
                    <a:pt x="50" y="67"/>
                    <a:pt x="54" y="73"/>
                  </a:cubicBezTo>
                  <a:cubicBezTo>
                    <a:pt x="83" y="112"/>
                    <a:pt x="83" y="112"/>
                    <a:pt x="83" y="112"/>
                  </a:cubicBezTo>
                  <a:cubicBezTo>
                    <a:pt x="89" y="102"/>
                    <a:pt x="96" y="93"/>
                    <a:pt x="103" y="84"/>
                  </a:cubicBezTo>
                  <a:cubicBezTo>
                    <a:pt x="114" y="71"/>
                    <a:pt x="126" y="58"/>
                    <a:pt x="139" y="46"/>
                  </a:cubicBezTo>
                  <a:cubicBezTo>
                    <a:pt x="144" y="42"/>
                    <a:pt x="152" y="42"/>
                    <a:pt x="156" y="47"/>
                  </a:cubicBezTo>
                  <a:cubicBezTo>
                    <a:pt x="161" y="52"/>
                    <a:pt x="161" y="60"/>
                    <a:pt x="156" y="64"/>
                  </a:cubicBezTo>
                  <a:cubicBezTo>
                    <a:pt x="144" y="75"/>
                    <a:pt x="133" y="87"/>
                    <a:pt x="123" y="100"/>
                  </a:cubicBezTo>
                  <a:cubicBezTo>
                    <a:pt x="113" y="112"/>
                    <a:pt x="103" y="126"/>
                    <a:pt x="95" y="140"/>
                  </a:cubicBezTo>
                  <a:cubicBezTo>
                    <a:pt x="94" y="141"/>
                    <a:pt x="93" y="143"/>
                    <a:pt x="91" y="144"/>
                  </a:cubicBezTo>
                  <a:cubicBezTo>
                    <a:pt x="86" y="148"/>
                    <a:pt x="78" y="147"/>
                    <a:pt x="74" y="141"/>
                  </a:cubicBezTo>
                  <a:cubicBezTo>
                    <a:pt x="34" y="88"/>
                    <a:pt x="34" y="88"/>
                    <a:pt x="34" y="88"/>
                  </a:cubicBezTo>
                  <a:close/>
                </a:path>
              </a:pathLst>
            </a:custGeom>
            <a:solidFill>
              <a:srgbClr val="2B78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E" sz="1600">
                <a:latin typeface="Calibri" panose="020F0502020204030204" pitchFamily="34" charset="0"/>
              </a:endParaRPr>
            </a:p>
          </p:txBody>
        </p:sp>
        <p:sp>
          <p:nvSpPr>
            <p:cNvPr id="51" name="Freeform 8"/>
            <p:cNvSpPr>
              <a:spLocks noEditPoints="1"/>
            </p:cNvSpPr>
            <p:nvPr/>
          </p:nvSpPr>
          <p:spPr bwMode="auto">
            <a:xfrm>
              <a:off x="431801" y="4117975"/>
              <a:ext cx="561975" cy="725488"/>
            </a:xfrm>
            <a:custGeom>
              <a:avLst/>
              <a:gdLst>
                <a:gd name="T0" fmla="*/ 779 w 824"/>
                <a:gd name="T1" fmla="*/ 255 h 1067"/>
                <a:gd name="T2" fmla="*/ 728 w 824"/>
                <a:gd name="T3" fmla="*/ 204 h 1067"/>
                <a:gd name="T4" fmla="*/ 633 w 824"/>
                <a:gd name="T5" fmla="*/ 204 h 1067"/>
                <a:gd name="T6" fmla="*/ 633 w 824"/>
                <a:gd name="T7" fmla="*/ 160 h 1067"/>
                <a:gd name="T8" fmla="*/ 728 w 824"/>
                <a:gd name="T9" fmla="*/ 160 h 1067"/>
                <a:gd name="T10" fmla="*/ 824 w 824"/>
                <a:gd name="T11" fmla="*/ 255 h 1067"/>
                <a:gd name="T12" fmla="*/ 824 w 824"/>
                <a:gd name="T13" fmla="*/ 972 h 1067"/>
                <a:gd name="T14" fmla="*/ 728 w 824"/>
                <a:gd name="T15" fmla="*/ 1067 h 1067"/>
                <a:gd name="T16" fmla="*/ 96 w 824"/>
                <a:gd name="T17" fmla="*/ 1067 h 1067"/>
                <a:gd name="T18" fmla="*/ 0 w 824"/>
                <a:gd name="T19" fmla="*/ 972 h 1067"/>
                <a:gd name="T20" fmla="*/ 0 w 824"/>
                <a:gd name="T21" fmla="*/ 255 h 1067"/>
                <a:gd name="T22" fmla="*/ 96 w 824"/>
                <a:gd name="T23" fmla="*/ 160 h 1067"/>
                <a:gd name="T24" fmla="*/ 191 w 824"/>
                <a:gd name="T25" fmla="*/ 160 h 1067"/>
                <a:gd name="T26" fmla="*/ 191 w 824"/>
                <a:gd name="T27" fmla="*/ 204 h 1067"/>
                <a:gd name="T28" fmla="*/ 96 w 824"/>
                <a:gd name="T29" fmla="*/ 204 h 1067"/>
                <a:gd name="T30" fmla="*/ 45 w 824"/>
                <a:gd name="T31" fmla="*/ 255 h 1067"/>
                <a:gd name="T32" fmla="*/ 45 w 824"/>
                <a:gd name="T33" fmla="*/ 972 h 1067"/>
                <a:gd name="T34" fmla="*/ 96 w 824"/>
                <a:gd name="T35" fmla="*/ 1023 h 1067"/>
                <a:gd name="T36" fmla="*/ 728 w 824"/>
                <a:gd name="T37" fmla="*/ 1023 h 1067"/>
                <a:gd name="T38" fmla="*/ 779 w 824"/>
                <a:gd name="T39" fmla="*/ 972 h 1067"/>
                <a:gd name="T40" fmla="*/ 779 w 824"/>
                <a:gd name="T41" fmla="*/ 255 h 1067"/>
                <a:gd name="T42" fmla="*/ 412 w 824"/>
                <a:gd name="T43" fmla="*/ 65 h 1067"/>
                <a:gd name="T44" fmla="*/ 450 w 824"/>
                <a:gd name="T45" fmla="*/ 103 h 1067"/>
                <a:gd name="T46" fmla="*/ 412 w 824"/>
                <a:gd name="T47" fmla="*/ 141 h 1067"/>
                <a:gd name="T48" fmla="*/ 374 w 824"/>
                <a:gd name="T49" fmla="*/ 103 h 1067"/>
                <a:gd name="T50" fmla="*/ 412 w 824"/>
                <a:gd name="T51" fmla="*/ 65 h 1067"/>
                <a:gd name="T52" fmla="*/ 470 w 824"/>
                <a:gd name="T53" fmla="*/ 45 h 1067"/>
                <a:gd name="T54" fmla="*/ 491 w 824"/>
                <a:gd name="T55" fmla="*/ 81 h 1067"/>
                <a:gd name="T56" fmla="*/ 564 w 824"/>
                <a:gd name="T57" fmla="*/ 81 h 1067"/>
                <a:gd name="T58" fmla="*/ 586 w 824"/>
                <a:gd name="T59" fmla="*/ 103 h 1067"/>
                <a:gd name="T60" fmla="*/ 586 w 824"/>
                <a:gd name="T61" fmla="*/ 204 h 1067"/>
                <a:gd name="T62" fmla="*/ 564 w 824"/>
                <a:gd name="T63" fmla="*/ 226 h 1067"/>
                <a:gd name="T64" fmla="*/ 260 w 824"/>
                <a:gd name="T65" fmla="*/ 226 h 1067"/>
                <a:gd name="T66" fmla="*/ 238 w 824"/>
                <a:gd name="T67" fmla="*/ 204 h 1067"/>
                <a:gd name="T68" fmla="*/ 238 w 824"/>
                <a:gd name="T69" fmla="*/ 103 h 1067"/>
                <a:gd name="T70" fmla="*/ 260 w 824"/>
                <a:gd name="T71" fmla="*/ 81 h 1067"/>
                <a:gd name="T72" fmla="*/ 333 w 824"/>
                <a:gd name="T73" fmla="*/ 81 h 1067"/>
                <a:gd name="T74" fmla="*/ 470 w 824"/>
                <a:gd name="T75" fmla="*/ 45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24" h="1067">
                  <a:moveTo>
                    <a:pt x="779" y="255"/>
                  </a:moveTo>
                  <a:cubicBezTo>
                    <a:pt x="779" y="227"/>
                    <a:pt x="756" y="204"/>
                    <a:pt x="728" y="204"/>
                  </a:cubicBezTo>
                  <a:cubicBezTo>
                    <a:pt x="633" y="204"/>
                    <a:pt x="633" y="204"/>
                    <a:pt x="633" y="204"/>
                  </a:cubicBezTo>
                  <a:cubicBezTo>
                    <a:pt x="633" y="160"/>
                    <a:pt x="633" y="160"/>
                    <a:pt x="633" y="160"/>
                  </a:cubicBezTo>
                  <a:cubicBezTo>
                    <a:pt x="728" y="160"/>
                    <a:pt x="728" y="160"/>
                    <a:pt x="728" y="160"/>
                  </a:cubicBezTo>
                  <a:cubicBezTo>
                    <a:pt x="781" y="160"/>
                    <a:pt x="824" y="203"/>
                    <a:pt x="824" y="255"/>
                  </a:cubicBezTo>
                  <a:cubicBezTo>
                    <a:pt x="824" y="494"/>
                    <a:pt x="824" y="733"/>
                    <a:pt x="824" y="972"/>
                  </a:cubicBezTo>
                  <a:cubicBezTo>
                    <a:pt x="824" y="1024"/>
                    <a:pt x="781" y="1067"/>
                    <a:pt x="728" y="1067"/>
                  </a:cubicBezTo>
                  <a:cubicBezTo>
                    <a:pt x="96" y="1067"/>
                    <a:pt x="96" y="1067"/>
                    <a:pt x="96" y="1067"/>
                  </a:cubicBezTo>
                  <a:cubicBezTo>
                    <a:pt x="43" y="1067"/>
                    <a:pt x="0" y="1024"/>
                    <a:pt x="0" y="972"/>
                  </a:cubicBezTo>
                  <a:cubicBezTo>
                    <a:pt x="0" y="255"/>
                    <a:pt x="0" y="255"/>
                    <a:pt x="0" y="255"/>
                  </a:cubicBezTo>
                  <a:cubicBezTo>
                    <a:pt x="0" y="203"/>
                    <a:pt x="43" y="160"/>
                    <a:pt x="96" y="160"/>
                  </a:cubicBezTo>
                  <a:cubicBezTo>
                    <a:pt x="191" y="160"/>
                    <a:pt x="191" y="160"/>
                    <a:pt x="191" y="160"/>
                  </a:cubicBezTo>
                  <a:cubicBezTo>
                    <a:pt x="191" y="204"/>
                    <a:pt x="191" y="204"/>
                    <a:pt x="191" y="204"/>
                  </a:cubicBezTo>
                  <a:cubicBezTo>
                    <a:pt x="96" y="204"/>
                    <a:pt x="96" y="204"/>
                    <a:pt x="96" y="204"/>
                  </a:cubicBezTo>
                  <a:cubicBezTo>
                    <a:pt x="68" y="204"/>
                    <a:pt x="45" y="227"/>
                    <a:pt x="45" y="255"/>
                  </a:cubicBezTo>
                  <a:cubicBezTo>
                    <a:pt x="45" y="972"/>
                    <a:pt x="45" y="972"/>
                    <a:pt x="45" y="972"/>
                  </a:cubicBezTo>
                  <a:cubicBezTo>
                    <a:pt x="45" y="1000"/>
                    <a:pt x="68" y="1023"/>
                    <a:pt x="96" y="1023"/>
                  </a:cubicBezTo>
                  <a:cubicBezTo>
                    <a:pt x="728" y="1023"/>
                    <a:pt x="728" y="1023"/>
                    <a:pt x="728" y="1023"/>
                  </a:cubicBezTo>
                  <a:cubicBezTo>
                    <a:pt x="756" y="1023"/>
                    <a:pt x="779" y="1000"/>
                    <a:pt x="779" y="972"/>
                  </a:cubicBezTo>
                  <a:cubicBezTo>
                    <a:pt x="779" y="733"/>
                    <a:pt x="779" y="494"/>
                    <a:pt x="779" y="255"/>
                  </a:cubicBezTo>
                  <a:close/>
                  <a:moveTo>
                    <a:pt x="412" y="65"/>
                  </a:moveTo>
                  <a:cubicBezTo>
                    <a:pt x="433" y="65"/>
                    <a:pt x="450" y="82"/>
                    <a:pt x="450" y="103"/>
                  </a:cubicBezTo>
                  <a:cubicBezTo>
                    <a:pt x="450" y="124"/>
                    <a:pt x="433" y="141"/>
                    <a:pt x="412" y="141"/>
                  </a:cubicBezTo>
                  <a:cubicBezTo>
                    <a:pt x="391" y="141"/>
                    <a:pt x="374" y="124"/>
                    <a:pt x="374" y="103"/>
                  </a:cubicBezTo>
                  <a:cubicBezTo>
                    <a:pt x="374" y="82"/>
                    <a:pt x="391" y="65"/>
                    <a:pt x="412" y="65"/>
                  </a:cubicBezTo>
                  <a:close/>
                  <a:moveTo>
                    <a:pt x="470" y="45"/>
                  </a:moveTo>
                  <a:cubicBezTo>
                    <a:pt x="480" y="55"/>
                    <a:pt x="487" y="67"/>
                    <a:pt x="491" y="81"/>
                  </a:cubicBezTo>
                  <a:cubicBezTo>
                    <a:pt x="564" y="81"/>
                    <a:pt x="564" y="81"/>
                    <a:pt x="564" y="81"/>
                  </a:cubicBezTo>
                  <a:cubicBezTo>
                    <a:pt x="576" y="81"/>
                    <a:pt x="586" y="91"/>
                    <a:pt x="586" y="103"/>
                  </a:cubicBezTo>
                  <a:cubicBezTo>
                    <a:pt x="586" y="204"/>
                    <a:pt x="586" y="204"/>
                    <a:pt x="586" y="204"/>
                  </a:cubicBezTo>
                  <a:cubicBezTo>
                    <a:pt x="586" y="216"/>
                    <a:pt x="576" y="226"/>
                    <a:pt x="564" y="226"/>
                  </a:cubicBezTo>
                  <a:cubicBezTo>
                    <a:pt x="260" y="226"/>
                    <a:pt x="260" y="226"/>
                    <a:pt x="260" y="226"/>
                  </a:cubicBezTo>
                  <a:cubicBezTo>
                    <a:pt x="248" y="226"/>
                    <a:pt x="238" y="216"/>
                    <a:pt x="238" y="204"/>
                  </a:cubicBezTo>
                  <a:cubicBezTo>
                    <a:pt x="238" y="103"/>
                    <a:pt x="238" y="103"/>
                    <a:pt x="238" y="103"/>
                  </a:cubicBezTo>
                  <a:cubicBezTo>
                    <a:pt x="238" y="91"/>
                    <a:pt x="248" y="81"/>
                    <a:pt x="260" y="81"/>
                  </a:cubicBezTo>
                  <a:cubicBezTo>
                    <a:pt x="333" y="81"/>
                    <a:pt x="333" y="81"/>
                    <a:pt x="333" y="81"/>
                  </a:cubicBezTo>
                  <a:cubicBezTo>
                    <a:pt x="350" y="21"/>
                    <a:pt x="425" y="0"/>
                    <a:pt x="470" y="45"/>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E" sz="1600">
                <a:latin typeface="Calibri" panose="020F0502020204030204" pitchFamily="34" charset="0"/>
              </a:endParaRPr>
            </a:p>
          </p:txBody>
        </p:sp>
        <p:sp>
          <p:nvSpPr>
            <p:cNvPr id="52" name="Freeform 9"/>
            <p:cNvSpPr>
              <a:spLocks noEditPoints="1"/>
            </p:cNvSpPr>
            <p:nvPr/>
          </p:nvSpPr>
          <p:spPr bwMode="auto">
            <a:xfrm>
              <a:off x="549276" y="4373563"/>
              <a:ext cx="327025" cy="363538"/>
            </a:xfrm>
            <a:custGeom>
              <a:avLst/>
              <a:gdLst>
                <a:gd name="T0" fmla="*/ 12 w 482"/>
                <a:gd name="T1" fmla="*/ 535 h 535"/>
                <a:gd name="T2" fmla="*/ 0 w 482"/>
                <a:gd name="T3" fmla="*/ 523 h 535"/>
                <a:gd name="T4" fmla="*/ 12 w 482"/>
                <a:gd name="T5" fmla="*/ 511 h 535"/>
                <a:gd name="T6" fmla="*/ 470 w 482"/>
                <a:gd name="T7" fmla="*/ 511 h 535"/>
                <a:gd name="T8" fmla="*/ 482 w 482"/>
                <a:gd name="T9" fmla="*/ 523 h 535"/>
                <a:gd name="T10" fmla="*/ 470 w 482"/>
                <a:gd name="T11" fmla="*/ 535 h 535"/>
                <a:gd name="T12" fmla="*/ 12 w 482"/>
                <a:gd name="T13" fmla="*/ 535 h 535"/>
                <a:gd name="T14" fmla="*/ 226 w 482"/>
                <a:gd name="T15" fmla="*/ 279 h 535"/>
                <a:gd name="T16" fmla="*/ 214 w 482"/>
                <a:gd name="T17" fmla="*/ 267 h 535"/>
                <a:gd name="T18" fmla="*/ 226 w 482"/>
                <a:gd name="T19" fmla="*/ 256 h 535"/>
                <a:gd name="T20" fmla="*/ 470 w 482"/>
                <a:gd name="T21" fmla="*/ 256 h 535"/>
                <a:gd name="T22" fmla="*/ 482 w 482"/>
                <a:gd name="T23" fmla="*/ 267 h 535"/>
                <a:gd name="T24" fmla="*/ 470 w 482"/>
                <a:gd name="T25" fmla="*/ 279 h 535"/>
                <a:gd name="T26" fmla="*/ 226 w 482"/>
                <a:gd name="T27" fmla="*/ 279 h 535"/>
                <a:gd name="T28" fmla="*/ 178 w 482"/>
                <a:gd name="T29" fmla="*/ 151 h 535"/>
                <a:gd name="T30" fmla="*/ 166 w 482"/>
                <a:gd name="T31" fmla="*/ 140 h 535"/>
                <a:gd name="T32" fmla="*/ 178 w 482"/>
                <a:gd name="T33" fmla="*/ 128 h 535"/>
                <a:gd name="T34" fmla="*/ 470 w 482"/>
                <a:gd name="T35" fmla="*/ 128 h 535"/>
                <a:gd name="T36" fmla="*/ 482 w 482"/>
                <a:gd name="T37" fmla="*/ 140 h 535"/>
                <a:gd name="T38" fmla="*/ 470 w 482"/>
                <a:gd name="T39" fmla="*/ 151 h 535"/>
                <a:gd name="T40" fmla="*/ 178 w 482"/>
                <a:gd name="T41" fmla="*/ 151 h 535"/>
                <a:gd name="T42" fmla="*/ 178 w 482"/>
                <a:gd name="T43" fmla="*/ 407 h 535"/>
                <a:gd name="T44" fmla="*/ 166 w 482"/>
                <a:gd name="T45" fmla="*/ 395 h 535"/>
                <a:gd name="T46" fmla="*/ 178 w 482"/>
                <a:gd name="T47" fmla="*/ 383 h 535"/>
                <a:gd name="T48" fmla="*/ 470 w 482"/>
                <a:gd name="T49" fmla="*/ 383 h 535"/>
                <a:gd name="T50" fmla="*/ 482 w 482"/>
                <a:gd name="T51" fmla="*/ 395 h 535"/>
                <a:gd name="T52" fmla="*/ 470 w 482"/>
                <a:gd name="T53" fmla="*/ 407 h 535"/>
                <a:gd name="T54" fmla="*/ 178 w 482"/>
                <a:gd name="T55" fmla="*/ 407 h 535"/>
                <a:gd name="T56" fmla="*/ 226 w 482"/>
                <a:gd name="T57" fmla="*/ 23 h 535"/>
                <a:gd name="T58" fmla="*/ 214 w 482"/>
                <a:gd name="T59" fmla="*/ 12 h 535"/>
                <a:gd name="T60" fmla="*/ 226 w 482"/>
                <a:gd name="T61" fmla="*/ 0 h 535"/>
                <a:gd name="T62" fmla="*/ 470 w 482"/>
                <a:gd name="T63" fmla="*/ 0 h 535"/>
                <a:gd name="T64" fmla="*/ 482 w 482"/>
                <a:gd name="T65" fmla="*/ 12 h 535"/>
                <a:gd name="T66" fmla="*/ 470 w 482"/>
                <a:gd name="T67" fmla="*/ 23 h 535"/>
                <a:gd name="T68" fmla="*/ 226 w 482"/>
                <a:gd name="T69" fmla="*/ 2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82" h="535">
                  <a:moveTo>
                    <a:pt x="12" y="535"/>
                  </a:moveTo>
                  <a:cubicBezTo>
                    <a:pt x="5" y="535"/>
                    <a:pt x="0" y="529"/>
                    <a:pt x="0" y="523"/>
                  </a:cubicBezTo>
                  <a:cubicBezTo>
                    <a:pt x="0" y="516"/>
                    <a:pt x="5" y="511"/>
                    <a:pt x="12" y="511"/>
                  </a:cubicBezTo>
                  <a:cubicBezTo>
                    <a:pt x="470" y="511"/>
                    <a:pt x="470" y="511"/>
                    <a:pt x="470" y="511"/>
                  </a:cubicBezTo>
                  <a:cubicBezTo>
                    <a:pt x="477" y="511"/>
                    <a:pt x="482" y="516"/>
                    <a:pt x="482" y="523"/>
                  </a:cubicBezTo>
                  <a:cubicBezTo>
                    <a:pt x="482" y="529"/>
                    <a:pt x="477" y="535"/>
                    <a:pt x="470" y="535"/>
                  </a:cubicBezTo>
                  <a:cubicBezTo>
                    <a:pt x="12" y="535"/>
                    <a:pt x="12" y="535"/>
                    <a:pt x="12" y="535"/>
                  </a:cubicBezTo>
                  <a:close/>
                  <a:moveTo>
                    <a:pt x="226" y="279"/>
                  </a:moveTo>
                  <a:cubicBezTo>
                    <a:pt x="219" y="279"/>
                    <a:pt x="214" y="274"/>
                    <a:pt x="214" y="267"/>
                  </a:cubicBezTo>
                  <a:cubicBezTo>
                    <a:pt x="214" y="261"/>
                    <a:pt x="219" y="256"/>
                    <a:pt x="226" y="256"/>
                  </a:cubicBezTo>
                  <a:cubicBezTo>
                    <a:pt x="470" y="256"/>
                    <a:pt x="470" y="256"/>
                    <a:pt x="470" y="256"/>
                  </a:cubicBezTo>
                  <a:cubicBezTo>
                    <a:pt x="477" y="256"/>
                    <a:pt x="482" y="261"/>
                    <a:pt x="482" y="267"/>
                  </a:cubicBezTo>
                  <a:cubicBezTo>
                    <a:pt x="482" y="274"/>
                    <a:pt x="477" y="279"/>
                    <a:pt x="470" y="279"/>
                  </a:cubicBezTo>
                  <a:cubicBezTo>
                    <a:pt x="226" y="279"/>
                    <a:pt x="226" y="279"/>
                    <a:pt x="226" y="279"/>
                  </a:cubicBezTo>
                  <a:close/>
                  <a:moveTo>
                    <a:pt x="178" y="151"/>
                  </a:moveTo>
                  <a:cubicBezTo>
                    <a:pt x="172" y="151"/>
                    <a:pt x="166" y="146"/>
                    <a:pt x="166" y="140"/>
                  </a:cubicBezTo>
                  <a:cubicBezTo>
                    <a:pt x="166" y="133"/>
                    <a:pt x="172" y="128"/>
                    <a:pt x="178" y="128"/>
                  </a:cubicBezTo>
                  <a:cubicBezTo>
                    <a:pt x="470" y="128"/>
                    <a:pt x="470" y="128"/>
                    <a:pt x="470" y="128"/>
                  </a:cubicBezTo>
                  <a:cubicBezTo>
                    <a:pt x="477" y="128"/>
                    <a:pt x="482" y="133"/>
                    <a:pt x="482" y="140"/>
                  </a:cubicBezTo>
                  <a:cubicBezTo>
                    <a:pt x="482" y="146"/>
                    <a:pt x="477" y="151"/>
                    <a:pt x="470" y="151"/>
                  </a:cubicBezTo>
                  <a:cubicBezTo>
                    <a:pt x="178" y="151"/>
                    <a:pt x="178" y="151"/>
                    <a:pt x="178" y="151"/>
                  </a:cubicBezTo>
                  <a:close/>
                  <a:moveTo>
                    <a:pt x="178" y="407"/>
                  </a:moveTo>
                  <a:cubicBezTo>
                    <a:pt x="172" y="407"/>
                    <a:pt x="166" y="402"/>
                    <a:pt x="166" y="395"/>
                  </a:cubicBezTo>
                  <a:cubicBezTo>
                    <a:pt x="166" y="389"/>
                    <a:pt x="172" y="383"/>
                    <a:pt x="178" y="383"/>
                  </a:cubicBezTo>
                  <a:cubicBezTo>
                    <a:pt x="470" y="383"/>
                    <a:pt x="470" y="383"/>
                    <a:pt x="470" y="383"/>
                  </a:cubicBezTo>
                  <a:cubicBezTo>
                    <a:pt x="477" y="383"/>
                    <a:pt x="482" y="389"/>
                    <a:pt x="482" y="395"/>
                  </a:cubicBezTo>
                  <a:cubicBezTo>
                    <a:pt x="482" y="402"/>
                    <a:pt x="477" y="407"/>
                    <a:pt x="470" y="407"/>
                  </a:cubicBezTo>
                  <a:cubicBezTo>
                    <a:pt x="178" y="407"/>
                    <a:pt x="178" y="407"/>
                    <a:pt x="178" y="407"/>
                  </a:cubicBezTo>
                  <a:close/>
                  <a:moveTo>
                    <a:pt x="226" y="23"/>
                  </a:moveTo>
                  <a:cubicBezTo>
                    <a:pt x="219" y="23"/>
                    <a:pt x="214" y="18"/>
                    <a:pt x="214" y="12"/>
                  </a:cubicBezTo>
                  <a:cubicBezTo>
                    <a:pt x="214" y="5"/>
                    <a:pt x="219" y="0"/>
                    <a:pt x="226" y="0"/>
                  </a:cubicBezTo>
                  <a:cubicBezTo>
                    <a:pt x="470" y="0"/>
                    <a:pt x="470" y="0"/>
                    <a:pt x="470" y="0"/>
                  </a:cubicBezTo>
                  <a:cubicBezTo>
                    <a:pt x="477" y="0"/>
                    <a:pt x="482" y="5"/>
                    <a:pt x="482" y="12"/>
                  </a:cubicBezTo>
                  <a:cubicBezTo>
                    <a:pt x="482" y="18"/>
                    <a:pt x="477" y="23"/>
                    <a:pt x="470" y="23"/>
                  </a:cubicBezTo>
                  <a:cubicBezTo>
                    <a:pt x="226" y="23"/>
                    <a:pt x="226" y="23"/>
                    <a:pt x="226" y="23"/>
                  </a:cubicBezTo>
                  <a:close/>
                </a:path>
              </a:pathLst>
            </a:custGeom>
            <a:solidFill>
              <a:srgbClr val="3B45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E" sz="1600">
                <a:latin typeface="Calibri" panose="020F0502020204030204" pitchFamily="34" charset="0"/>
              </a:endParaRPr>
            </a:p>
          </p:txBody>
        </p:sp>
      </p:grpSp>
      <p:sp>
        <p:nvSpPr>
          <p:cNvPr id="53" name="Rectangle 52"/>
          <p:cNvSpPr>
            <a:spLocks/>
          </p:cNvSpPr>
          <p:nvPr/>
        </p:nvSpPr>
        <p:spPr>
          <a:xfrm>
            <a:off x="2688377" y="4497635"/>
            <a:ext cx="3741409" cy="134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171450" indent="-171450">
              <a:spcBef>
                <a:spcPts val="75"/>
              </a:spcBef>
              <a:buFont typeface="Wingdings" panose="05000000000000000000" pitchFamily="2" charset="2"/>
              <a:buChar char="q"/>
            </a:pPr>
            <a:r>
              <a:rPr lang="en-IN" sz="1200" dirty="0" smtClean="0">
                <a:solidFill>
                  <a:schemeClr val="tx1"/>
                </a:solidFill>
                <a:latin typeface="Calibri" panose="020F0502020204030204" pitchFamily="34" charset="0"/>
              </a:rPr>
              <a:t>Will it improve student outcomes?</a:t>
            </a:r>
          </a:p>
          <a:p>
            <a:pPr marL="171450" indent="-171450">
              <a:spcBef>
                <a:spcPts val="75"/>
              </a:spcBef>
              <a:buFont typeface="Wingdings" panose="05000000000000000000" pitchFamily="2" charset="2"/>
              <a:buChar char="q"/>
            </a:pPr>
            <a:r>
              <a:rPr lang="en-IN" sz="1200" dirty="0" smtClean="0">
                <a:solidFill>
                  <a:schemeClr val="tx1"/>
                </a:solidFill>
                <a:latin typeface="Calibri" panose="020F0502020204030204" pitchFamily="34" charset="0"/>
              </a:rPr>
              <a:t>Will it free up time to teach/lead?</a:t>
            </a:r>
          </a:p>
          <a:p>
            <a:pPr marL="171450" indent="-171450">
              <a:spcBef>
                <a:spcPts val="75"/>
              </a:spcBef>
              <a:buFont typeface="Wingdings" panose="05000000000000000000" pitchFamily="2" charset="2"/>
              <a:buChar char="q"/>
            </a:pPr>
            <a:r>
              <a:rPr lang="en-IN" sz="1200" dirty="0" smtClean="0">
                <a:solidFill>
                  <a:schemeClr val="tx1"/>
                </a:solidFill>
                <a:latin typeface="Calibri" panose="020F0502020204030204" pitchFamily="34" charset="0"/>
              </a:rPr>
              <a:t>Is it fully accessible?</a:t>
            </a:r>
            <a:endParaRPr lang="en-IN" sz="1200" dirty="0">
              <a:solidFill>
                <a:schemeClr val="tx1"/>
              </a:solidFill>
              <a:latin typeface="Calibri" panose="020F0502020204030204" pitchFamily="34" charset="0"/>
            </a:endParaRPr>
          </a:p>
          <a:p>
            <a:pPr marL="171450" indent="-171450">
              <a:spcBef>
                <a:spcPts val="75"/>
              </a:spcBef>
              <a:buFont typeface="Wingdings" panose="05000000000000000000" pitchFamily="2" charset="2"/>
              <a:buChar char="q"/>
            </a:pPr>
            <a:r>
              <a:rPr lang="en-IN" sz="1200" dirty="0">
                <a:solidFill>
                  <a:schemeClr val="tx1"/>
                </a:solidFill>
                <a:latin typeface="Calibri" panose="020F0502020204030204" pitchFamily="34" charset="0"/>
              </a:rPr>
              <a:t>Is this </a:t>
            </a:r>
            <a:r>
              <a:rPr lang="en-IN" sz="1200" dirty="0" smtClean="0">
                <a:solidFill>
                  <a:schemeClr val="tx1"/>
                </a:solidFill>
                <a:latin typeface="Calibri" panose="020F0502020204030204" pitchFamily="34" charset="0"/>
              </a:rPr>
              <a:t>a priority shared </a:t>
            </a:r>
            <a:r>
              <a:rPr lang="en-IN" sz="1200" dirty="0">
                <a:solidFill>
                  <a:schemeClr val="tx1"/>
                </a:solidFill>
                <a:latin typeface="Calibri" panose="020F0502020204030204" pitchFamily="34" charset="0"/>
              </a:rPr>
              <a:t>by a range of </a:t>
            </a:r>
            <a:r>
              <a:rPr lang="en-IN" sz="1200" dirty="0" smtClean="0">
                <a:solidFill>
                  <a:schemeClr val="tx1"/>
                </a:solidFill>
                <a:latin typeface="Calibri" panose="020F0502020204030204" pitchFamily="34" charset="0"/>
              </a:rPr>
              <a:t>school types?</a:t>
            </a:r>
          </a:p>
          <a:p>
            <a:pPr marL="171450" indent="-171450">
              <a:spcBef>
                <a:spcPts val="75"/>
              </a:spcBef>
              <a:buFont typeface="Wingdings" panose="05000000000000000000" pitchFamily="2" charset="2"/>
              <a:buChar char="q"/>
            </a:pPr>
            <a:r>
              <a:rPr lang="en-IN" sz="1200" dirty="0" smtClean="0">
                <a:solidFill>
                  <a:schemeClr val="tx1"/>
                </a:solidFill>
                <a:latin typeface="Calibri" panose="020F0502020204030204" pitchFamily="34" charset="0"/>
              </a:rPr>
              <a:t>Will this have a large time impact on schools?</a:t>
            </a:r>
          </a:p>
          <a:p>
            <a:pPr marL="171450" indent="-171450">
              <a:spcBef>
                <a:spcPts val="75"/>
              </a:spcBef>
              <a:buFont typeface="Wingdings" panose="05000000000000000000" pitchFamily="2" charset="2"/>
              <a:buChar char="q"/>
            </a:pPr>
            <a:r>
              <a:rPr lang="en-IN" sz="1200" dirty="0" smtClean="0">
                <a:solidFill>
                  <a:schemeClr val="tx1"/>
                </a:solidFill>
                <a:latin typeface="Calibri" panose="020F0502020204030204" pitchFamily="34" charset="0"/>
              </a:rPr>
              <a:t>Can it be implemented within the current schedule of activities – not breaching the cap?</a:t>
            </a:r>
            <a:endParaRPr lang="en-IN" sz="1200" dirty="0">
              <a:solidFill>
                <a:schemeClr val="tx1"/>
              </a:solidFill>
              <a:latin typeface="Calibri" panose="020F0502020204030204" pitchFamily="34" charset="0"/>
            </a:endParaRPr>
          </a:p>
        </p:txBody>
      </p:sp>
      <p:sp>
        <p:nvSpPr>
          <p:cNvPr id="55" name="Pentagon 54"/>
          <p:cNvSpPr/>
          <p:nvPr/>
        </p:nvSpPr>
        <p:spPr>
          <a:xfrm>
            <a:off x="280533" y="6150275"/>
            <a:ext cx="11805557" cy="674023"/>
          </a:xfrm>
          <a:prstGeom prst="homePlat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t>Underpinned by key principles</a:t>
            </a:r>
          </a:p>
          <a:p>
            <a:pPr algn="ctr"/>
            <a:r>
              <a:rPr lang="en-AU" sz="1200" dirty="0" smtClean="0"/>
              <a:t>*Students at the centre * With schools not to schools * School time counts * Keep it simple * Better than last, every time </a:t>
            </a:r>
          </a:p>
          <a:p>
            <a:pPr algn="ctr"/>
            <a:r>
              <a:rPr lang="en-AU" sz="1200" dirty="0" smtClean="0"/>
              <a:t>* Make a difference not a change * Do it less, do it better * Common sense</a:t>
            </a:r>
          </a:p>
        </p:txBody>
      </p:sp>
      <p:grpSp>
        <p:nvGrpSpPr>
          <p:cNvPr id="15" name="Group 14"/>
          <p:cNvGrpSpPr/>
          <p:nvPr/>
        </p:nvGrpSpPr>
        <p:grpSpPr>
          <a:xfrm>
            <a:off x="2717930" y="1355939"/>
            <a:ext cx="3786293" cy="411954"/>
            <a:chOff x="2759716" y="1242278"/>
            <a:chExt cx="3786293" cy="411954"/>
          </a:xfrm>
        </p:grpSpPr>
        <p:cxnSp>
          <p:nvCxnSpPr>
            <p:cNvPr id="43" name="Straight Connector 42"/>
            <p:cNvCxnSpPr>
              <a:cxnSpLocks/>
            </p:cNvCxnSpPr>
            <p:nvPr/>
          </p:nvCxnSpPr>
          <p:spPr>
            <a:xfrm>
              <a:off x="2759716" y="1654232"/>
              <a:ext cx="3741409"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54" name="TextBox 53"/>
            <p:cNvSpPr txBox="1">
              <a:spLocks/>
            </p:cNvSpPr>
            <p:nvPr/>
          </p:nvSpPr>
          <p:spPr>
            <a:xfrm>
              <a:off x="2759716" y="1242278"/>
              <a:ext cx="3786293" cy="369332"/>
            </a:xfrm>
            <a:prstGeom prst="rect">
              <a:avLst/>
            </a:prstGeom>
            <a:noFill/>
          </p:spPr>
          <p:txBody>
            <a:bodyPr wrap="none" lIns="0" tIns="0" rIns="0" bIns="0" rtlCol="0" anchor="b">
              <a:spAutoFit/>
            </a:bodyPr>
            <a:lstStyle/>
            <a:p>
              <a:pPr defTabSz="1219170" fontAlgn="base">
                <a:spcAft>
                  <a:spcPct val="0"/>
                </a:spcAft>
                <a:buClr>
                  <a:prstClr val="black"/>
                </a:buClr>
                <a:defRPr/>
              </a:pPr>
              <a:r>
                <a:rPr lang="en-US" sz="1200" b="1" dirty="0" smtClean="0">
                  <a:solidFill>
                    <a:prstClr val="black"/>
                  </a:solidFill>
                  <a:latin typeface="Montserrat Light" charset="0"/>
                  <a:ea typeface="ＭＳ Ｐゴシック" charset="0"/>
                  <a:cs typeface="Arial" pitchFamily="34" charset="0"/>
                </a:rPr>
                <a:t>Gateway 2: </a:t>
              </a:r>
            </a:p>
            <a:p>
              <a:pPr defTabSz="1219170" fontAlgn="base">
                <a:spcAft>
                  <a:spcPct val="0"/>
                </a:spcAft>
                <a:buClr>
                  <a:prstClr val="black"/>
                </a:buClr>
                <a:defRPr/>
              </a:pPr>
              <a:r>
                <a:rPr lang="en-US" sz="1200" b="1" dirty="0" smtClean="0">
                  <a:solidFill>
                    <a:prstClr val="black"/>
                  </a:solidFill>
                  <a:latin typeface="Montserrat Light" charset="0"/>
                  <a:ea typeface="ＭＳ Ｐゴシック" charset="0"/>
                  <a:cs typeface="Arial" pitchFamily="34" charset="0"/>
                </a:rPr>
                <a:t>Design </a:t>
              </a:r>
              <a:r>
                <a:rPr lang="en-US" sz="1200" b="1" dirty="0">
                  <a:solidFill>
                    <a:prstClr val="black"/>
                  </a:solidFill>
                  <a:latin typeface="Montserrat Light" charset="0"/>
                  <a:ea typeface="ＭＳ Ｐゴシック" charset="0"/>
                  <a:cs typeface="Arial" pitchFamily="34" charset="0"/>
                </a:rPr>
                <a:t>within “rules of the game”, </a:t>
              </a:r>
              <a:r>
                <a:rPr lang="en-US" sz="1200" b="1" dirty="0" err="1" smtClean="0">
                  <a:solidFill>
                    <a:prstClr val="black"/>
                  </a:solidFill>
                  <a:latin typeface="Montserrat Light" charset="0"/>
                  <a:ea typeface="ＭＳ Ｐゴシック" charset="0"/>
                  <a:cs typeface="Arial" pitchFamily="34" charset="0"/>
                </a:rPr>
                <a:t>prioritise</a:t>
              </a:r>
              <a:r>
                <a:rPr lang="en-US" sz="1200" b="1" dirty="0" smtClean="0">
                  <a:solidFill>
                    <a:prstClr val="black"/>
                  </a:solidFill>
                  <a:latin typeface="Montserrat Light" charset="0"/>
                  <a:ea typeface="ＭＳ Ｐゴシック" charset="0"/>
                  <a:cs typeface="Arial" pitchFamily="34" charset="0"/>
                </a:rPr>
                <a:t> locally</a:t>
              </a:r>
              <a:endParaRPr kumimoji="0" lang="en-US" sz="1200" b="1" i="0" u="none" strike="noStrike" kern="1200" cap="none" spc="0" normalizeH="0" baseline="0" noProof="0" dirty="0">
                <a:ln>
                  <a:noFill/>
                </a:ln>
                <a:solidFill>
                  <a:prstClr val="black"/>
                </a:solidFill>
                <a:effectLst/>
                <a:uLnTx/>
                <a:uFillTx/>
                <a:latin typeface="Montserrat Light" charset="0"/>
                <a:ea typeface="ＭＳ Ｐゴシック" charset="0"/>
                <a:cs typeface="Arial" pitchFamily="34" charset="0"/>
              </a:endParaRPr>
            </a:p>
          </p:txBody>
        </p:sp>
      </p:grpSp>
      <p:sp>
        <p:nvSpPr>
          <p:cNvPr id="57" name="Right Arrow 56"/>
          <p:cNvSpPr>
            <a:spLocks/>
          </p:cNvSpPr>
          <p:nvPr/>
        </p:nvSpPr>
        <p:spPr>
          <a:xfrm>
            <a:off x="6013954" y="2986898"/>
            <a:ext cx="347634" cy="775381"/>
          </a:xfrm>
          <a:prstGeom prst="rightArrow">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Calibri" panose="020F0502020204030204" pitchFamily="34" charset="0"/>
            </a:endParaRPr>
          </a:p>
        </p:txBody>
      </p:sp>
      <p:sp>
        <p:nvSpPr>
          <p:cNvPr id="58" name="Rectangle 57"/>
          <p:cNvSpPr>
            <a:spLocks/>
          </p:cNvSpPr>
          <p:nvPr/>
        </p:nvSpPr>
        <p:spPr>
          <a:xfrm>
            <a:off x="6655670" y="1806104"/>
            <a:ext cx="2992807"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r>
              <a:rPr lang="en-AU" sz="1200" b="1" dirty="0" smtClean="0">
                <a:solidFill>
                  <a:schemeClr val="tx1"/>
                </a:solidFill>
                <a:latin typeface="Calibri" panose="020F0502020204030204" pitchFamily="34" charset="0"/>
              </a:rPr>
              <a:t>Rapid pro-typing and iteration</a:t>
            </a:r>
            <a:endParaRPr lang="en-IN" sz="1200" b="1" spc="-38" dirty="0">
              <a:solidFill>
                <a:schemeClr val="tx1"/>
              </a:solidFill>
              <a:latin typeface="Calibri" panose="020F0502020204030204" pitchFamily="34" charset="0"/>
            </a:endParaRPr>
          </a:p>
        </p:txBody>
      </p:sp>
      <p:sp>
        <p:nvSpPr>
          <p:cNvPr id="59" name="Rectangle 58"/>
          <p:cNvSpPr>
            <a:spLocks/>
          </p:cNvSpPr>
          <p:nvPr/>
        </p:nvSpPr>
        <p:spPr>
          <a:xfrm>
            <a:off x="9844807" y="1806104"/>
            <a:ext cx="1752600"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r>
              <a:rPr lang="en-AU" sz="1200" b="1" dirty="0" smtClean="0">
                <a:solidFill>
                  <a:schemeClr val="tx1"/>
                </a:solidFill>
                <a:latin typeface="Calibri" panose="020F0502020204030204" pitchFamily="34" charset="0"/>
              </a:rPr>
              <a:t>Structured final approval for all projects.</a:t>
            </a:r>
            <a:endParaRPr lang="en-IN" sz="1200" b="1" spc="-38" dirty="0">
              <a:solidFill>
                <a:schemeClr val="tx1"/>
              </a:solidFill>
              <a:latin typeface="Calibri" panose="020F0502020204030204" pitchFamily="34" charset="0"/>
            </a:endParaRPr>
          </a:p>
        </p:txBody>
      </p:sp>
      <p:sp>
        <p:nvSpPr>
          <p:cNvPr id="60" name="Right Arrow 59"/>
          <p:cNvSpPr>
            <a:spLocks/>
          </p:cNvSpPr>
          <p:nvPr/>
        </p:nvSpPr>
        <p:spPr>
          <a:xfrm>
            <a:off x="9551609" y="3122853"/>
            <a:ext cx="347634" cy="775381"/>
          </a:xfrm>
          <a:prstGeom prst="rightArrow">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Calibri" panose="020F0502020204030204" pitchFamily="34" charset="0"/>
            </a:endParaRPr>
          </a:p>
        </p:txBody>
      </p:sp>
      <p:sp>
        <p:nvSpPr>
          <p:cNvPr id="62" name="Rectangle 61"/>
          <p:cNvSpPr>
            <a:spLocks/>
          </p:cNvSpPr>
          <p:nvPr/>
        </p:nvSpPr>
        <p:spPr>
          <a:xfrm>
            <a:off x="9815254" y="4497635"/>
            <a:ext cx="1798477" cy="11721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171450" indent="-171450">
              <a:spcBef>
                <a:spcPts val="75"/>
              </a:spcBef>
              <a:buFont typeface="Wingdings" panose="05000000000000000000" pitchFamily="2" charset="2"/>
              <a:buChar char="q"/>
            </a:pPr>
            <a:r>
              <a:rPr lang="en-IN" sz="1200" dirty="0">
                <a:solidFill>
                  <a:schemeClr val="tx1"/>
                </a:solidFill>
                <a:latin typeface="Calibri" panose="020F0502020204030204" pitchFamily="34" charset="0"/>
              </a:rPr>
              <a:t>H</a:t>
            </a:r>
            <a:r>
              <a:rPr lang="en-IN" sz="1200" dirty="0" smtClean="0">
                <a:solidFill>
                  <a:schemeClr val="tx1"/>
                </a:solidFill>
                <a:latin typeface="Calibri" panose="020F0502020204030204" pitchFamily="34" charset="0"/>
              </a:rPr>
              <a:t>igh-quality? </a:t>
            </a:r>
          </a:p>
          <a:p>
            <a:pPr marL="171450" indent="-171450">
              <a:spcBef>
                <a:spcPts val="75"/>
              </a:spcBef>
              <a:buFont typeface="Wingdings" panose="05000000000000000000" pitchFamily="2" charset="2"/>
              <a:buChar char="q"/>
            </a:pPr>
            <a:r>
              <a:rPr lang="en-IN" sz="1200" dirty="0" smtClean="0">
                <a:solidFill>
                  <a:schemeClr val="tx1"/>
                </a:solidFill>
                <a:latin typeface="Calibri" panose="020F0502020204030204" pitchFamily="34" charset="0"/>
              </a:rPr>
              <a:t>Defects fixed?</a:t>
            </a:r>
          </a:p>
          <a:p>
            <a:pPr marL="171450" indent="-171450">
              <a:spcBef>
                <a:spcPts val="75"/>
              </a:spcBef>
              <a:buFont typeface="Wingdings" panose="05000000000000000000" pitchFamily="2" charset="2"/>
              <a:buChar char="q"/>
            </a:pPr>
            <a:r>
              <a:rPr lang="en-IN" sz="1200" dirty="0" smtClean="0">
                <a:solidFill>
                  <a:schemeClr val="tx1"/>
                </a:solidFill>
                <a:latin typeface="Calibri" panose="020F0502020204030204" pitchFamily="34" charset="0"/>
              </a:rPr>
              <a:t>Appropriate training?</a:t>
            </a:r>
          </a:p>
          <a:p>
            <a:pPr marL="171450" indent="-171450">
              <a:spcBef>
                <a:spcPts val="75"/>
              </a:spcBef>
              <a:buFont typeface="Wingdings" panose="05000000000000000000" pitchFamily="2" charset="2"/>
              <a:buChar char="q"/>
            </a:pPr>
            <a:r>
              <a:rPr lang="en-IN" sz="1200" dirty="0">
                <a:solidFill>
                  <a:schemeClr val="tx1"/>
                </a:solidFill>
                <a:latin typeface="Calibri" panose="020F0502020204030204" pitchFamily="34" charset="0"/>
              </a:rPr>
              <a:t>S</a:t>
            </a:r>
            <a:r>
              <a:rPr lang="en-IN" sz="1200" dirty="0" smtClean="0">
                <a:solidFill>
                  <a:schemeClr val="tx1"/>
                </a:solidFill>
                <a:latin typeface="Calibri" panose="020F0502020204030204" pitchFamily="34" charset="0"/>
              </a:rPr>
              <a:t>chools still want this? </a:t>
            </a:r>
          </a:p>
          <a:p>
            <a:pPr marL="171450" indent="-171450">
              <a:spcBef>
                <a:spcPts val="75"/>
              </a:spcBef>
              <a:buFont typeface="Wingdings" panose="05000000000000000000" pitchFamily="2" charset="2"/>
              <a:buChar char="q"/>
            </a:pPr>
            <a:r>
              <a:rPr lang="en-IN" sz="1200" dirty="0" smtClean="0">
                <a:solidFill>
                  <a:schemeClr val="tx1"/>
                </a:solidFill>
                <a:latin typeface="Calibri" panose="020F0502020204030204" pitchFamily="34" charset="0"/>
              </a:rPr>
              <a:t>Opt-in where possible?</a:t>
            </a:r>
          </a:p>
          <a:p>
            <a:pPr marL="171450" indent="-171450">
              <a:spcBef>
                <a:spcPts val="75"/>
              </a:spcBef>
              <a:buFont typeface="Wingdings" panose="05000000000000000000" pitchFamily="2" charset="2"/>
              <a:buChar char="q"/>
            </a:pPr>
            <a:r>
              <a:rPr lang="en-IN" sz="1200" dirty="0" smtClean="0">
                <a:solidFill>
                  <a:schemeClr val="tx1"/>
                </a:solidFill>
                <a:latin typeface="Calibri" panose="020F0502020204030204" pitchFamily="34" charset="0"/>
              </a:rPr>
              <a:t>Time impact?</a:t>
            </a:r>
            <a:endParaRPr lang="en-IN" sz="1200" dirty="0">
              <a:solidFill>
                <a:schemeClr val="tx1"/>
              </a:solidFill>
              <a:latin typeface="Calibri" panose="020F0502020204030204" pitchFamily="34" charset="0"/>
            </a:endParaRPr>
          </a:p>
        </p:txBody>
      </p:sp>
    </p:spTree>
    <p:extLst>
      <p:ext uri="{BB962C8B-B14F-4D97-AF65-F5344CB8AC3E}">
        <p14:creationId xmlns:p14="http://schemas.microsoft.com/office/powerpoint/2010/main" val="241474487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481944" y="3306027"/>
            <a:ext cx="11026533" cy="424460"/>
          </a:xfrm>
          <a:prstGeom prst="rect">
            <a:avLst/>
          </a:prstGeom>
          <a:solidFill>
            <a:schemeClr val="accent1">
              <a:lumMod val="20000"/>
              <a:lumOff val="80000"/>
            </a:schemeClr>
          </a:solidFill>
          <a:ln>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dirty="0"/>
          </a:p>
        </p:txBody>
      </p:sp>
      <p:sp>
        <p:nvSpPr>
          <p:cNvPr id="3" name="Rectangle 2"/>
          <p:cNvSpPr>
            <a:spLocks/>
          </p:cNvSpPr>
          <p:nvPr/>
        </p:nvSpPr>
        <p:spPr>
          <a:xfrm>
            <a:off x="739415" y="2789192"/>
            <a:ext cx="11026533" cy="1754326"/>
          </a:xfrm>
          <a:prstGeom prst="rect">
            <a:avLst/>
          </a:prstGeom>
        </p:spPr>
        <p:txBody>
          <a:bodyPr wrap="square">
            <a:spAutoFit/>
          </a:bodyPr>
          <a:lstStyle/>
          <a:p>
            <a:pPr marL="285750" indent="-285750" defTabSz="1219170" fontAlgn="base">
              <a:spcBef>
                <a:spcPct val="0"/>
              </a:spcBef>
              <a:spcAft>
                <a:spcPct val="0"/>
              </a:spcAft>
              <a:buFont typeface="Wingdings" panose="05000000000000000000" pitchFamily="2" charset="2"/>
              <a:buChar char="§"/>
            </a:pPr>
            <a:r>
              <a:rPr lang="en-AU" dirty="0" smtClean="0">
                <a:solidFill>
                  <a:srgbClr val="00ABC3">
                    <a:lumMod val="50000"/>
                  </a:srgbClr>
                </a:solidFill>
                <a:latin typeface="Montserrat Light" charset="0"/>
                <a:ea typeface="ＭＳ Ｐゴシック" charset="0"/>
              </a:rPr>
              <a:t>Reducing the Administrative Burden</a:t>
            </a:r>
          </a:p>
          <a:p>
            <a:pPr marL="285750" indent="-285750" defTabSz="1219170" fontAlgn="base">
              <a:spcBef>
                <a:spcPct val="0"/>
              </a:spcBef>
              <a:spcAft>
                <a:spcPct val="0"/>
              </a:spcAft>
              <a:buFont typeface="Wingdings" panose="05000000000000000000" pitchFamily="2" charset="2"/>
              <a:buChar char="§"/>
            </a:pPr>
            <a:endParaRPr lang="en-AU" dirty="0">
              <a:solidFill>
                <a:srgbClr val="00ABC3">
                  <a:lumMod val="50000"/>
                </a:srgbClr>
              </a:solidFill>
              <a:latin typeface="Montserrat Light" charset="0"/>
              <a:ea typeface="ＭＳ Ｐゴシック" charset="0"/>
            </a:endParaRPr>
          </a:p>
          <a:p>
            <a:pPr marL="285750" indent="-285750" defTabSz="1219170" fontAlgn="base">
              <a:spcBef>
                <a:spcPct val="0"/>
              </a:spcBef>
              <a:spcAft>
                <a:spcPct val="0"/>
              </a:spcAft>
              <a:buFont typeface="Wingdings" panose="05000000000000000000" pitchFamily="2" charset="2"/>
              <a:buChar char="§"/>
            </a:pPr>
            <a:r>
              <a:rPr lang="en-AU" dirty="0" smtClean="0">
                <a:solidFill>
                  <a:srgbClr val="00ABC3">
                    <a:lumMod val="50000"/>
                  </a:srgbClr>
                </a:solidFill>
                <a:latin typeface="Montserrat Light" charset="0"/>
                <a:ea typeface="ＭＳ Ｐゴシック" charset="0"/>
              </a:rPr>
              <a:t>Disability strategy</a:t>
            </a:r>
          </a:p>
          <a:p>
            <a:pPr marL="285750" indent="-285750" defTabSz="1219170" fontAlgn="base">
              <a:spcBef>
                <a:spcPct val="0"/>
              </a:spcBef>
              <a:spcAft>
                <a:spcPct val="0"/>
              </a:spcAft>
              <a:buFont typeface="Wingdings" panose="05000000000000000000" pitchFamily="2" charset="2"/>
              <a:buChar char="§"/>
            </a:pPr>
            <a:endParaRPr lang="en-AU" dirty="0">
              <a:solidFill>
                <a:srgbClr val="00ABC3">
                  <a:lumMod val="50000"/>
                </a:srgbClr>
              </a:solidFill>
              <a:latin typeface="Montserrat Light" charset="0"/>
              <a:ea typeface="ＭＳ Ｐゴシック" charset="0"/>
            </a:endParaRPr>
          </a:p>
          <a:p>
            <a:pPr marL="285750" indent="-285750" defTabSz="1219170" fontAlgn="base">
              <a:spcBef>
                <a:spcPct val="0"/>
              </a:spcBef>
              <a:spcAft>
                <a:spcPct val="0"/>
              </a:spcAft>
              <a:buFont typeface="Wingdings" panose="05000000000000000000" pitchFamily="2" charset="2"/>
              <a:buChar char="§"/>
            </a:pPr>
            <a:r>
              <a:rPr lang="en-AU" dirty="0" smtClean="0">
                <a:solidFill>
                  <a:srgbClr val="00ABC3">
                    <a:lumMod val="50000"/>
                  </a:srgbClr>
                </a:solidFill>
                <a:latin typeface="Montserrat Light" charset="0"/>
                <a:ea typeface="ＭＳ Ｐゴシック" charset="0"/>
              </a:rPr>
              <a:t>Staffing methodology review</a:t>
            </a:r>
          </a:p>
          <a:p>
            <a:pPr marL="285750" indent="-285750" defTabSz="1219170" fontAlgn="base">
              <a:spcBef>
                <a:spcPct val="0"/>
              </a:spcBef>
              <a:spcAft>
                <a:spcPct val="0"/>
              </a:spcAft>
              <a:buFont typeface="Wingdings" panose="05000000000000000000" pitchFamily="2" charset="2"/>
              <a:buChar char="§"/>
            </a:pPr>
            <a:endParaRPr lang="en-AU" dirty="0" smtClean="0">
              <a:solidFill>
                <a:srgbClr val="00ABC3">
                  <a:lumMod val="50000"/>
                </a:srgbClr>
              </a:solidFill>
              <a:latin typeface="Montserrat Light" charset="0"/>
              <a:ea typeface="ＭＳ Ｐゴシック" charset="0"/>
            </a:endParaRPr>
          </a:p>
        </p:txBody>
      </p:sp>
      <p:sp>
        <p:nvSpPr>
          <p:cNvPr id="2" name="Title 1"/>
          <p:cNvSpPr>
            <a:spLocks noGrp="1"/>
          </p:cNvSpPr>
          <p:nvPr>
            <p:ph type="title"/>
          </p:nvPr>
        </p:nvSpPr>
        <p:spPr>
          <a:xfrm>
            <a:off x="527380" y="654249"/>
            <a:ext cx="11026533" cy="662517"/>
          </a:xfrm>
        </p:spPr>
        <p:txBody>
          <a:bodyPr/>
          <a:lstStyle/>
          <a:p>
            <a:r>
              <a:rPr lang="en-AU" dirty="0"/>
              <a:t>Executive Summary</a:t>
            </a:r>
          </a:p>
        </p:txBody>
      </p:sp>
    </p:spTree>
    <p:extLst>
      <p:ext uri="{BB962C8B-B14F-4D97-AF65-F5344CB8AC3E}">
        <p14:creationId xmlns:p14="http://schemas.microsoft.com/office/powerpoint/2010/main" val="329156431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Objectives </a:t>
            </a:r>
            <a:r>
              <a:rPr lang="en-AU" dirty="0"/>
              <a:t>of this </a:t>
            </a:r>
            <a:r>
              <a:rPr lang="en-AU" dirty="0" smtClean="0"/>
              <a:t>strategy</a:t>
            </a:r>
            <a:endParaRPr lang="en-AU" dirty="0"/>
          </a:p>
        </p:txBody>
      </p:sp>
      <p:sp>
        <p:nvSpPr>
          <p:cNvPr id="4" name="Rectangle 3"/>
          <p:cNvSpPr/>
          <p:nvPr/>
        </p:nvSpPr>
        <p:spPr>
          <a:xfrm>
            <a:off x="1727936" y="1607089"/>
            <a:ext cx="8753273" cy="954107"/>
          </a:xfrm>
          <a:prstGeom prst="rect">
            <a:avLst/>
          </a:prstGeom>
          <a:solidFill>
            <a:schemeClr val="accent3">
              <a:lumMod val="40000"/>
              <a:lumOff val="60000"/>
            </a:schemeClr>
          </a:solidFill>
        </p:spPr>
        <p:txBody>
          <a:bodyPr wrap="square" anchor="t">
            <a:spAutoFit/>
          </a:bodyPr>
          <a:lstStyle/>
          <a:p>
            <a:endParaRPr lang="en-US" sz="1400" dirty="0">
              <a:solidFill>
                <a:srgbClr val="6E6F73"/>
              </a:solidFill>
              <a:latin typeface="Arial"/>
              <a:cs typeface="Arial"/>
            </a:endParaRPr>
          </a:p>
          <a:p>
            <a:r>
              <a:rPr lang="en-US" sz="1400" b="1" dirty="0">
                <a:solidFill>
                  <a:srgbClr val="37373A"/>
                </a:solidFill>
                <a:latin typeface="Arial"/>
                <a:cs typeface="Arial"/>
              </a:rPr>
              <a:t>How can the NSW Department of Education become Australia’s best education system for children and young people with disability, preparing them for rewarding lives?</a:t>
            </a:r>
          </a:p>
          <a:p>
            <a:endParaRPr lang="en-US" sz="1400" b="1" dirty="0">
              <a:solidFill>
                <a:srgbClr val="37373A"/>
              </a:solidFill>
              <a:latin typeface="Arial"/>
              <a:ea typeface="Times New Roman" panose="02020603050405020304" pitchFamily="18" charset="0"/>
              <a:cs typeface="Arial"/>
            </a:endParaRPr>
          </a:p>
        </p:txBody>
      </p:sp>
      <p:graphicFrame>
        <p:nvGraphicFramePr>
          <p:cNvPr id="6" name="Object 5" hidden="1"/>
          <p:cNvGraphicFramePr>
            <a:graphicFrameLocks noChangeAspect="1"/>
          </p:cNvGraphicFramePr>
          <p:nvPr>
            <p:custDataLst>
              <p:tags r:id="rId2"/>
            </p:custDataLst>
            <p:ext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spid="_x0000_s26640" name="think-cell Slide" r:id="rId5" imgW="352" imgH="355" progId="TCLayout.ActiveDocument.1">
                  <p:embed/>
                </p:oleObj>
              </mc:Choice>
              <mc:Fallback>
                <p:oleObj name="think-cell Slide" r:id="rId5" imgW="352" imgH="355" progId="TCLayout.ActiveDocument.1">
                  <p:embed/>
                  <p:pic>
                    <p:nvPicPr>
                      <p:cNvPr id="6" name="Object 5" hidden="1"/>
                      <p:cNvPicPr/>
                      <p:nvPr/>
                    </p:nvPicPr>
                    <p:blipFill>
                      <a:blip r:embed="rId6"/>
                      <a:stretch>
                        <a:fillRect/>
                      </a:stretch>
                    </p:blipFill>
                    <p:spPr>
                      <a:xfrm>
                        <a:off x="1144589" y="1589"/>
                        <a:ext cx="1587" cy="1587"/>
                      </a:xfrm>
                      <a:prstGeom prst="rect">
                        <a:avLst/>
                      </a:prstGeom>
                    </p:spPr>
                  </p:pic>
                </p:oleObj>
              </mc:Fallback>
            </mc:AlternateContent>
          </a:graphicData>
        </a:graphic>
      </p:graphicFrame>
      <p:graphicFrame>
        <p:nvGraphicFramePr>
          <p:cNvPr id="12" name="Object 11" hidden="1"/>
          <p:cNvGraphicFramePr>
            <a:graphicFrameLocks noChangeAspect="1"/>
          </p:cNvGraphicFramePr>
          <p:nvPr>
            <p:custDataLst>
              <p:tags r:id="rId3"/>
            </p:custDataLst>
            <p:ext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spid="_x0000_s26641" name="think-cell Slide" r:id="rId7" imgW="352" imgH="355" progId="TCLayout.ActiveDocument.1">
                  <p:embed/>
                </p:oleObj>
              </mc:Choice>
              <mc:Fallback>
                <p:oleObj name="think-cell Slide" r:id="rId7" imgW="352" imgH="355" progId="TCLayout.ActiveDocument.1">
                  <p:embed/>
                  <p:pic>
                    <p:nvPicPr>
                      <p:cNvPr id="12" name="Object 11" hidden="1"/>
                      <p:cNvPicPr/>
                      <p:nvPr/>
                    </p:nvPicPr>
                    <p:blipFill>
                      <a:blip r:embed="rId6"/>
                      <a:stretch>
                        <a:fillRect/>
                      </a:stretch>
                    </p:blipFill>
                    <p:spPr>
                      <a:xfrm>
                        <a:off x="1144589" y="1589"/>
                        <a:ext cx="1587" cy="1587"/>
                      </a:xfrm>
                      <a:prstGeom prst="rect">
                        <a:avLst/>
                      </a:prstGeom>
                    </p:spPr>
                  </p:pic>
                </p:oleObj>
              </mc:Fallback>
            </mc:AlternateContent>
          </a:graphicData>
        </a:graphic>
      </p:graphicFrame>
      <p:sp>
        <p:nvSpPr>
          <p:cNvPr id="3" name="TextBox 2"/>
          <p:cNvSpPr txBox="1"/>
          <p:nvPr/>
        </p:nvSpPr>
        <p:spPr>
          <a:xfrm>
            <a:off x="1723503" y="2904919"/>
            <a:ext cx="1026841" cy="450992"/>
          </a:xfrm>
          <a:prstGeom prst="rect">
            <a:avLst/>
          </a:prstGeom>
          <a:solidFill>
            <a:schemeClr val="accent3">
              <a:lumMod val="40000"/>
              <a:lumOff val="60000"/>
            </a:schemeClr>
          </a:solidFill>
          <a:ln w="3175" cap="rnd">
            <a:noFill/>
            <a:prstDash val="solid"/>
          </a:ln>
        </p:spPr>
        <p:txBody>
          <a:bodyPr wrap="square" lIns="0" tIns="0" rIns="0" bIns="0" rtlCol="0" anchor="ctr" anchorCtr="0">
            <a:noAutofit/>
          </a:bodyPr>
          <a:lstStyle/>
          <a:p>
            <a:pPr algn="ctr"/>
            <a:r>
              <a:rPr lang="en-AU" sz="1400" dirty="0"/>
              <a:t>System</a:t>
            </a:r>
            <a:endParaRPr lang="en-US" sz="1400" dirty="0"/>
          </a:p>
        </p:txBody>
      </p:sp>
      <p:sp>
        <p:nvSpPr>
          <p:cNvPr id="9" name="TextBox 8"/>
          <p:cNvSpPr txBox="1"/>
          <p:nvPr/>
        </p:nvSpPr>
        <p:spPr>
          <a:xfrm>
            <a:off x="1723503" y="3599052"/>
            <a:ext cx="1026841" cy="450992"/>
          </a:xfrm>
          <a:prstGeom prst="rect">
            <a:avLst/>
          </a:prstGeom>
          <a:solidFill>
            <a:schemeClr val="accent3">
              <a:lumMod val="40000"/>
              <a:lumOff val="60000"/>
            </a:schemeClr>
          </a:solidFill>
          <a:ln w="3175" cap="rnd">
            <a:noFill/>
            <a:prstDash val="solid"/>
          </a:ln>
        </p:spPr>
        <p:txBody>
          <a:bodyPr wrap="square" lIns="0" tIns="0" rIns="0" bIns="0" rtlCol="0" anchor="ctr" anchorCtr="0">
            <a:noAutofit/>
          </a:bodyPr>
          <a:lstStyle/>
          <a:p>
            <a:pPr algn="ctr"/>
            <a:r>
              <a:rPr lang="en-AU" sz="1400" dirty="0"/>
              <a:t>Support</a:t>
            </a:r>
            <a:endParaRPr lang="en-US" sz="1400"/>
          </a:p>
        </p:txBody>
      </p:sp>
      <p:sp>
        <p:nvSpPr>
          <p:cNvPr id="10" name="TextBox 9"/>
          <p:cNvSpPr txBox="1"/>
          <p:nvPr/>
        </p:nvSpPr>
        <p:spPr>
          <a:xfrm>
            <a:off x="1638923" y="5526497"/>
            <a:ext cx="1243538" cy="450992"/>
          </a:xfrm>
          <a:prstGeom prst="rect">
            <a:avLst/>
          </a:prstGeom>
          <a:solidFill>
            <a:schemeClr val="accent3">
              <a:lumMod val="40000"/>
              <a:lumOff val="60000"/>
            </a:schemeClr>
          </a:solidFill>
          <a:ln w="3175" cap="rnd">
            <a:noFill/>
            <a:prstDash val="solid"/>
          </a:ln>
        </p:spPr>
        <p:txBody>
          <a:bodyPr wrap="square" lIns="0" tIns="0" rIns="0" bIns="0" rtlCol="0" anchor="ctr" anchorCtr="0">
            <a:noAutofit/>
          </a:bodyPr>
          <a:lstStyle/>
          <a:p>
            <a:pPr algn="ctr"/>
            <a:r>
              <a:rPr lang="en-AU" sz="1400" dirty="0"/>
              <a:t>Outside School Gate</a:t>
            </a:r>
            <a:endParaRPr lang="en-US" sz="1400"/>
          </a:p>
        </p:txBody>
      </p:sp>
      <p:sp>
        <p:nvSpPr>
          <p:cNvPr id="11" name="Rectangle 10">
            <a:extLst>
              <a:ext uri="{FF2B5EF4-FFF2-40B4-BE49-F238E27FC236}">
                <a16:creationId xmlns:a16="http://schemas.microsoft.com/office/drawing/2014/main" id="{C604590F-9CBF-4E33-B003-587F0ED95646}"/>
              </a:ext>
            </a:extLst>
          </p:cNvPr>
          <p:cNvSpPr/>
          <p:nvPr/>
        </p:nvSpPr>
        <p:spPr>
          <a:xfrm>
            <a:off x="2882461" y="2426596"/>
            <a:ext cx="7541238" cy="3539430"/>
          </a:xfrm>
          <a:prstGeom prst="rect">
            <a:avLst/>
          </a:prstGeom>
        </p:spPr>
        <p:txBody>
          <a:bodyPr wrap="square" anchor="t">
            <a:spAutoFit/>
          </a:bodyPr>
          <a:lstStyle/>
          <a:p>
            <a:endParaRPr lang="en-US" sz="1400" dirty="0">
              <a:solidFill>
                <a:srgbClr val="6E6F73"/>
              </a:solidFill>
              <a:latin typeface="Arial"/>
              <a:cs typeface="Arial"/>
            </a:endParaRPr>
          </a:p>
          <a:p>
            <a:endParaRPr lang="en-US" sz="1400" b="1" dirty="0">
              <a:solidFill>
                <a:srgbClr val="37373A"/>
              </a:solidFill>
              <a:latin typeface="Arial"/>
              <a:ea typeface="Times New Roman" panose="02020603050405020304" pitchFamily="18" charset="0"/>
              <a:cs typeface="Arial"/>
            </a:endParaRPr>
          </a:p>
          <a:p>
            <a:r>
              <a:rPr lang="en-AU" sz="1400" dirty="0">
                <a:solidFill>
                  <a:srgbClr val="37373A"/>
                </a:solidFill>
                <a:latin typeface="Arial"/>
                <a:ea typeface="Times New Roman" panose="02020603050405020304" pitchFamily="18" charset="0"/>
                <a:cs typeface="Arial"/>
              </a:rPr>
              <a:t>How might we design the most effective</a:t>
            </a:r>
            <a:r>
              <a:rPr lang="en-AU" sz="1400" b="1" dirty="0">
                <a:solidFill>
                  <a:srgbClr val="37373A"/>
                </a:solidFill>
                <a:latin typeface="Arial"/>
                <a:ea typeface="Times New Roman" panose="02020603050405020304" pitchFamily="18" charset="0"/>
                <a:cs typeface="Arial"/>
              </a:rPr>
              <a:t> system</a:t>
            </a:r>
            <a:r>
              <a:rPr lang="en-AU" sz="1400" dirty="0">
                <a:solidFill>
                  <a:srgbClr val="37373A"/>
                </a:solidFill>
                <a:latin typeface="Arial"/>
                <a:ea typeface="Times New Roman" panose="02020603050405020304" pitchFamily="18" charset="0"/>
                <a:cs typeface="Arial"/>
              </a:rPr>
              <a:t> from the perspective of children and young people with disability and their families?</a:t>
            </a:r>
          </a:p>
          <a:p>
            <a:pPr>
              <a:spcAft>
                <a:spcPct val="0"/>
              </a:spcAft>
              <a:buClr>
                <a:schemeClr val="tx2">
                  <a:lumMod val="100000"/>
                </a:schemeClr>
              </a:buClr>
              <a:buSzPct val="100000"/>
            </a:pPr>
            <a:endParaRPr lang="en-AU" sz="1400" dirty="0">
              <a:solidFill>
                <a:srgbClr val="37373A"/>
              </a:solidFill>
              <a:latin typeface="Arial"/>
              <a:cs typeface="Arial"/>
            </a:endParaRPr>
          </a:p>
          <a:p>
            <a:pPr>
              <a:spcAft>
                <a:spcPct val="0"/>
              </a:spcAft>
              <a:buClr>
                <a:srgbClr val="00ABC3">
                  <a:lumMod val="100000"/>
                </a:srgbClr>
              </a:buClr>
              <a:buSzPct val="100000"/>
            </a:pPr>
            <a:r>
              <a:rPr lang="en-AU" sz="1400" dirty="0">
                <a:solidFill>
                  <a:srgbClr val="37373A"/>
                </a:solidFill>
                <a:latin typeface="Arial"/>
                <a:ea typeface="Times New Roman" panose="02020603050405020304" pitchFamily="18" charset="0"/>
                <a:cs typeface="Arial"/>
              </a:rPr>
              <a:t>What </a:t>
            </a:r>
            <a:r>
              <a:rPr lang="en-AU" sz="1400" b="1" dirty="0">
                <a:solidFill>
                  <a:srgbClr val="37373A"/>
                </a:solidFill>
                <a:latin typeface="Arial"/>
                <a:ea typeface="Times New Roman" panose="02020603050405020304" pitchFamily="18" charset="0"/>
                <a:cs typeface="Arial"/>
              </a:rPr>
              <a:t>support</a:t>
            </a:r>
            <a:r>
              <a:rPr lang="en-AU" sz="1400" dirty="0">
                <a:solidFill>
                  <a:srgbClr val="37373A"/>
                </a:solidFill>
                <a:latin typeface="Arial"/>
                <a:ea typeface="Times New Roman" panose="02020603050405020304" pitchFamily="18" charset="0"/>
                <a:cs typeface="Arial"/>
              </a:rPr>
              <a:t> should children and young people with disability and their families expect</a:t>
            </a:r>
            <a:r>
              <a:rPr lang="en-AU" sz="1400" b="1" dirty="0">
                <a:solidFill>
                  <a:srgbClr val="37373A"/>
                </a:solidFill>
                <a:latin typeface="Arial"/>
                <a:ea typeface="Times New Roman" panose="02020603050405020304" pitchFamily="18" charset="0"/>
                <a:cs typeface="Arial"/>
              </a:rPr>
              <a:t>? </a:t>
            </a:r>
          </a:p>
          <a:p>
            <a:pPr marL="742950" lvl="3" indent="-285750">
              <a:buClr>
                <a:srgbClr val="00ABC3">
                  <a:lumMod val="100000"/>
                </a:srgbClr>
              </a:buClr>
              <a:buSzPct val="100000"/>
              <a:buFont typeface="Arial" panose="020B0604020202020204" pitchFamily="34" charset="0"/>
              <a:buChar char="•"/>
            </a:pPr>
            <a:r>
              <a:rPr lang="en-US" sz="1400" dirty="0">
                <a:solidFill>
                  <a:srgbClr val="37373A"/>
                </a:solidFill>
                <a:latin typeface="Arial"/>
                <a:ea typeface="Times New Roman" panose="02020603050405020304" pitchFamily="18" charset="0"/>
                <a:cs typeface="Arial"/>
              </a:rPr>
              <a:t>Workforce – how can we ensure we have the right people in the right places with the right skills?</a:t>
            </a:r>
          </a:p>
          <a:p>
            <a:pPr marL="742950" lvl="3" indent="-285750">
              <a:buClr>
                <a:srgbClr val="00ABC3">
                  <a:lumMod val="100000"/>
                </a:srgbClr>
              </a:buClr>
              <a:buSzPct val="100000"/>
              <a:buFont typeface="Arial" panose="020B0604020202020204" pitchFamily="34" charset="0"/>
              <a:buChar char="•"/>
            </a:pPr>
            <a:r>
              <a:rPr lang="en-US" sz="1400" dirty="0">
                <a:solidFill>
                  <a:srgbClr val="37373A"/>
                </a:solidFill>
                <a:latin typeface="Arial"/>
                <a:ea typeface="Times New Roman" panose="02020603050405020304" pitchFamily="18" charset="0"/>
                <a:cs typeface="Arial"/>
              </a:rPr>
              <a:t>Tools and supports – what can we provide teachers and other school staff to make it easier for them to education and support students?</a:t>
            </a:r>
          </a:p>
          <a:p>
            <a:pPr marL="742950" lvl="3" indent="-285750">
              <a:buClr>
                <a:srgbClr val="00ABC3">
                  <a:lumMod val="100000"/>
                </a:srgbClr>
              </a:buClr>
              <a:buSzPct val="100000"/>
              <a:buFont typeface="Arial" panose="020B0604020202020204" pitchFamily="34" charset="0"/>
              <a:buChar char="•"/>
            </a:pPr>
            <a:r>
              <a:rPr lang="en-US" sz="1400" dirty="0">
                <a:solidFill>
                  <a:srgbClr val="37373A"/>
                </a:solidFill>
                <a:latin typeface="Arial"/>
                <a:ea typeface="Times New Roman" panose="02020603050405020304" pitchFamily="18" charset="0"/>
                <a:cs typeface="Arial"/>
              </a:rPr>
              <a:t>Transitions – how can we support effective transitions from early childhood services into school, between schools, and from school to post-school activity? </a:t>
            </a:r>
          </a:p>
          <a:p>
            <a:pPr marL="742950" lvl="3" indent="-285750">
              <a:buClr>
                <a:srgbClr val="00ABC3">
                  <a:lumMod val="100000"/>
                </a:srgbClr>
              </a:buClr>
              <a:buSzPct val="100000"/>
              <a:buFont typeface="Arial" panose="020B0604020202020204" pitchFamily="34" charset="0"/>
              <a:buChar char="•"/>
            </a:pPr>
            <a:r>
              <a:rPr lang="en-US" sz="1400" dirty="0">
                <a:solidFill>
                  <a:srgbClr val="37373A"/>
                </a:solidFill>
                <a:latin typeface="Arial"/>
                <a:ea typeface="Times New Roman" panose="02020603050405020304" pitchFamily="18" charset="0"/>
                <a:cs typeface="Arial"/>
              </a:rPr>
              <a:t>Assets – how can the built environment support the education of children and young people with disability?</a:t>
            </a:r>
          </a:p>
          <a:p>
            <a:pPr>
              <a:spcAft>
                <a:spcPct val="0"/>
              </a:spcAft>
              <a:buClr>
                <a:schemeClr val="tx2">
                  <a:lumMod val="100000"/>
                </a:schemeClr>
              </a:buClr>
              <a:buSzPct val="100000"/>
            </a:pPr>
            <a:endParaRPr lang="en-AU" sz="1400" dirty="0">
              <a:solidFill>
                <a:srgbClr val="37373A"/>
              </a:solidFill>
              <a:latin typeface="Arial"/>
              <a:cs typeface="Arial"/>
            </a:endParaRPr>
          </a:p>
          <a:p>
            <a:pPr>
              <a:spcAft>
                <a:spcPct val="0"/>
              </a:spcAft>
              <a:buClr>
                <a:srgbClr val="00ABC3">
                  <a:lumMod val="100000"/>
                </a:srgbClr>
              </a:buClr>
              <a:buSzPct val="100000"/>
            </a:pPr>
            <a:r>
              <a:rPr lang="en-AU" sz="1400" b="1" dirty="0">
                <a:solidFill>
                  <a:srgbClr val="37373A"/>
                </a:solidFill>
                <a:latin typeface="Arial"/>
                <a:ea typeface="Times New Roman" panose="02020603050405020304" pitchFamily="18" charset="0"/>
                <a:cs typeface="Arial"/>
              </a:rPr>
              <a:t>What might we put in place outside the school gate to best support learning? </a:t>
            </a:r>
            <a:endParaRPr lang="en-US" sz="1400" b="1" dirty="0">
              <a:solidFill>
                <a:srgbClr val="37373A"/>
              </a:solidFill>
              <a:latin typeface="Arial"/>
              <a:ea typeface="Times New Roman" panose="02020603050405020304" pitchFamily="18" charset="0"/>
              <a:cs typeface="Arial"/>
            </a:endParaRPr>
          </a:p>
        </p:txBody>
      </p:sp>
    </p:spTree>
    <p:extLst>
      <p:ext uri="{BB962C8B-B14F-4D97-AF65-F5344CB8AC3E}">
        <p14:creationId xmlns:p14="http://schemas.microsoft.com/office/powerpoint/2010/main" val="33680908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sWNZ96HITpG97q4UbF3HY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qa0HGQKdRoiIxuERD0hyO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IyEaHaTETW.UhsevXromvw"/>
</p:tagLst>
</file>

<file path=ppt/theme/theme1.xml><?xml version="1.0" encoding="utf-8"?>
<a:theme xmlns:a="http://schemas.openxmlformats.org/drawingml/2006/main" name="2_Office Theme">
  <a:themeElements>
    <a:clrScheme name="Dept of Education">
      <a:dk1>
        <a:sysClr val="windowText" lastClr="000000"/>
      </a:dk1>
      <a:lt1>
        <a:sysClr val="window" lastClr="FFFFFF"/>
      </a:lt1>
      <a:dk2>
        <a:srgbClr val="425968"/>
      </a:dk2>
      <a:lt2>
        <a:srgbClr val="EEECE1"/>
      </a:lt2>
      <a:accent1>
        <a:srgbClr val="00ABC3"/>
      </a:accent1>
      <a:accent2>
        <a:srgbClr val="00B178"/>
      </a:accent2>
      <a:accent3>
        <a:srgbClr val="9ACAEB"/>
      </a:accent3>
      <a:accent4>
        <a:srgbClr val="A87EB1"/>
      </a:accent4>
      <a:accent5>
        <a:srgbClr val="4BACC6"/>
      </a:accent5>
      <a:accent6>
        <a:srgbClr val="FFC623"/>
      </a:accent6>
      <a:hlink>
        <a:srgbClr val="0000FF"/>
      </a:hlink>
      <a:folHlink>
        <a:srgbClr val="800080"/>
      </a:folHlink>
    </a:clrScheme>
    <a:fontScheme name="Dept of Education">
      <a:majorFont>
        <a:latin typeface="Montserrat"/>
        <a:ea typeface=""/>
        <a:cs typeface=""/>
      </a:majorFont>
      <a:minorFont>
        <a:latin typeface="Montserra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200"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E8CEBFC574DA542BF5B815839ACA0D3" ma:contentTypeVersion="8" ma:contentTypeDescription="Create a new document." ma:contentTypeScope="" ma:versionID="a0bb02154089875c7c924ec119d98624">
  <xsd:schema xmlns:xsd="http://www.w3.org/2001/XMLSchema" xmlns:xs="http://www.w3.org/2001/XMLSchema" xmlns:p="http://schemas.microsoft.com/office/2006/metadata/properties" xmlns:ns2="b87af84e-c481-439e-b3fc-f1d8d1f7bb3b" xmlns:ns3="c7de7c50-5d1e-4d69-9b73-7a1d2ea36e88" targetNamespace="http://schemas.microsoft.com/office/2006/metadata/properties" ma:root="true" ma:fieldsID="625ce2cb37b970bd7b4bbf95e552d712" ns2:_="" ns3:_="">
    <xsd:import namespace="b87af84e-c481-439e-b3fc-f1d8d1f7bb3b"/>
    <xsd:import namespace="c7de7c50-5d1e-4d69-9b73-7a1d2ea36e88"/>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87af84e-c481-439e-b3fc-f1d8d1f7bb3b"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7de7c50-5d1e-4d69-9b73-7a1d2ea36e88"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MediaServiceAutoTags" ma:internalName="MediaServiceAutoTags" ma:readOnly="true">
      <xsd:simpleType>
        <xsd:restriction base="dms:Text"/>
      </xsd:simpleType>
    </xsd:element>
    <xsd:element name="MediaServiceLocation" ma:index="14" nillable="true" ma:displayName="MediaServiceLocation" ma:internalName="MediaServiceLocation"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2CDF475-1519-4C8B-A203-F752A861E46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87af84e-c481-439e-b3fc-f1d8d1f7bb3b"/>
    <ds:schemaRef ds:uri="c7de7c50-5d1e-4d69-9b73-7a1d2ea36e8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E70DE26-D8FE-46FC-BC78-8EF818F5B9C4}">
  <ds:schemaRefs>
    <ds:schemaRef ds:uri="http://schemas.microsoft.com/sharepoint/v3/contenttype/forms"/>
  </ds:schemaRefs>
</ds:datastoreItem>
</file>

<file path=customXml/itemProps3.xml><?xml version="1.0" encoding="utf-8"?>
<ds:datastoreItem xmlns:ds="http://schemas.openxmlformats.org/officeDocument/2006/customXml" ds:itemID="{553596A4-7107-48A4-A793-7D2179BA3B45}">
  <ds:schemaRefs>
    <ds:schemaRef ds:uri="b87af84e-c481-439e-b3fc-f1d8d1f7bb3b"/>
    <ds:schemaRef ds:uri="http://purl.org/dc/elements/1.1/"/>
    <ds:schemaRef ds:uri="http://schemas.microsoft.com/office/2006/metadata/properties"/>
    <ds:schemaRef ds:uri="c7de7c50-5d1e-4d69-9b73-7a1d2ea36e88"/>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4282</TotalTime>
  <Words>1506</Words>
  <Application>Microsoft Office PowerPoint</Application>
  <PresentationFormat>Widescreen</PresentationFormat>
  <Paragraphs>276</Paragraphs>
  <Slides>13</Slides>
  <Notes>2</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8" baseType="lpstr">
      <vt:lpstr>ＭＳ Ｐゴシック</vt:lpstr>
      <vt:lpstr>Arial</vt:lpstr>
      <vt:lpstr>Calibri</vt:lpstr>
      <vt:lpstr>Calibri Light</vt:lpstr>
      <vt:lpstr>Courier New</vt:lpstr>
      <vt:lpstr>Helvetica</vt:lpstr>
      <vt:lpstr>Montserrat</vt:lpstr>
      <vt:lpstr>Montserrat Bold</vt:lpstr>
      <vt:lpstr>Montserrat Light</vt:lpstr>
      <vt:lpstr>Montserrat Medium</vt:lpstr>
      <vt:lpstr>Montserrat SemiBold</vt:lpstr>
      <vt:lpstr>Times New Roman</vt:lpstr>
      <vt:lpstr>Wingdings</vt:lpstr>
      <vt:lpstr>2_Office Theme</vt:lpstr>
      <vt:lpstr>think-cell Slide</vt:lpstr>
      <vt:lpstr>Supporting our schools</vt:lpstr>
      <vt:lpstr>Executive Summary</vt:lpstr>
      <vt:lpstr>Coordinate Schools Schedule</vt:lpstr>
      <vt:lpstr>Time saved department-wide to date</vt:lpstr>
      <vt:lpstr>Work in progress</vt:lpstr>
      <vt:lpstr>Proposed governance approach – combines local prioritisation with central oversight</vt:lpstr>
      <vt:lpstr>Proposed gateways</vt:lpstr>
      <vt:lpstr>Executive Summary</vt:lpstr>
      <vt:lpstr>Objectives of this strategy</vt:lpstr>
      <vt:lpstr>How we are developing the strategy</vt:lpstr>
      <vt:lpstr>Emerging priorities</vt:lpstr>
      <vt:lpstr>Executive Summary</vt:lpstr>
      <vt:lpstr>PowerPoint Presentation</vt:lpstr>
    </vt:vector>
  </TitlesOfParts>
  <Company>NSW Department of Educ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ser journey</dc:title>
  <dc:creator>Oliver, James</dc:creator>
  <cp:lastModifiedBy>Staging Connections</cp:lastModifiedBy>
  <cp:revision>124</cp:revision>
  <cp:lastPrinted>2018-06-13T06:19:42Z</cp:lastPrinted>
  <dcterms:created xsi:type="dcterms:W3CDTF">2018-06-01T04:31:45Z</dcterms:created>
  <dcterms:modified xsi:type="dcterms:W3CDTF">2018-06-22T00:37: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E8CEBFC574DA542BF5B815839ACA0D3</vt:lpwstr>
  </property>
</Properties>
</file>